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9" r:id="rId5"/>
    <p:sldMasterId id="2147483682" r:id="rId6"/>
    <p:sldMasterId id="2147483690" r:id="rId7"/>
    <p:sldMasterId id="2147483706" r:id="rId8"/>
  </p:sldMasterIdLst>
  <p:notesMasterIdLst>
    <p:notesMasterId r:id="rId17"/>
  </p:notesMasterIdLst>
  <p:sldIdLst>
    <p:sldId id="4055" r:id="rId9"/>
    <p:sldId id="4071" r:id="rId10"/>
    <p:sldId id="4064" r:id="rId11"/>
    <p:sldId id="4066" r:id="rId12"/>
    <p:sldId id="4067" r:id="rId13"/>
    <p:sldId id="4068" r:id="rId14"/>
    <p:sldId id="4069" r:id="rId15"/>
    <p:sldId id="404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haleda Hussain" initials="KH" lastIdx="1" clrIdx="0">
    <p:extLst>
      <p:ext uri="{19B8F6BF-5375-455C-9EA6-DF929625EA0E}">
        <p15:presenceInfo xmlns:p15="http://schemas.microsoft.com/office/powerpoint/2012/main" userId="S::Khaleda.Hussain@gemserv.com::e5e5a5e2-6d4e-43ef-a58c-f921c0b017d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CC3D"/>
    <a:srgbClr val="80BC26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haleda Hussain" userId="e5e5a5e2-6d4e-43ef-a58c-f921c0b017d0" providerId="ADAL" clId="{40BE8D4A-F8E4-425B-A798-FF373F23E1F0}"/>
    <pc:docChg chg="undo redo custSel addSld delSld modSld">
      <pc:chgData name="Khaleda Hussain" userId="e5e5a5e2-6d4e-43ef-a58c-f921c0b017d0" providerId="ADAL" clId="{40BE8D4A-F8E4-425B-A798-FF373F23E1F0}" dt="2020-09-22T11:17:02.705" v="3947" actId="20577"/>
      <pc:docMkLst>
        <pc:docMk/>
      </pc:docMkLst>
      <pc:sldChg chg="delSp modSp add mod">
        <pc:chgData name="Khaleda Hussain" userId="e5e5a5e2-6d4e-43ef-a58c-f921c0b017d0" providerId="ADAL" clId="{40BE8D4A-F8E4-425B-A798-FF373F23E1F0}" dt="2020-09-22T10:36:11.543" v="3157" actId="20577"/>
        <pc:sldMkLst>
          <pc:docMk/>
          <pc:sldMk cId="1379963575" sldId="4048"/>
        </pc:sldMkLst>
        <pc:spChg chg="mod">
          <ac:chgData name="Khaleda Hussain" userId="e5e5a5e2-6d4e-43ef-a58c-f921c0b017d0" providerId="ADAL" clId="{40BE8D4A-F8E4-425B-A798-FF373F23E1F0}" dt="2020-09-21T21:42:38.765" v="2126" actId="20577"/>
          <ac:spMkLst>
            <pc:docMk/>
            <pc:sldMk cId="1379963575" sldId="4048"/>
            <ac:spMk id="2" creationId="{1ADD2EC7-6B41-4640-BBE0-8BB050145D5F}"/>
          </ac:spMkLst>
        </pc:spChg>
        <pc:spChg chg="mod">
          <ac:chgData name="Khaleda Hussain" userId="e5e5a5e2-6d4e-43ef-a58c-f921c0b017d0" providerId="ADAL" clId="{40BE8D4A-F8E4-425B-A798-FF373F23E1F0}" dt="2020-09-22T10:30:01.837" v="3152" actId="20577"/>
          <ac:spMkLst>
            <pc:docMk/>
            <pc:sldMk cId="1379963575" sldId="4048"/>
            <ac:spMk id="4" creationId="{BAAF2DA3-59C0-40DE-8880-1C7D1C21CE0A}"/>
          </ac:spMkLst>
        </pc:spChg>
        <pc:spChg chg="mod">
          <ac:chgData name="Khaleda Hussain" userId="e5e5a5e2-6d4e-43ef-a58c-f921c0b017d0" providerId="ADAL" clId="{40BE8D4A-F8E4-425B-A798-FF373F23E1F0}" dt="2020-09-22T10:36:11.543" v="3157" actId="20577"/>
          <ac:spMkLst>
            <pc:docMk/>
            <pc:sldMk cId="1379963575" sldId="4048"/>
            <ac:spMk id="5" creationId="{B11354CD-7F00-419E-8438-378BA4849A40}"/>
          </ac:spMkLst>
        </pc:spChg>
        <pc:spChg chg="del">
          <ac:chgData name="Khaleda Hussain" userId="e5e5a5e2-6d4e-43ef-a58c-f921c0b017d0" providerId="ADAL" clId="{40BE8D4A-F8E4-425B-A798-FF373F23E1F0}" dt="2020-09-21T21:41:02.662" v="1953" actId="478"/>
          <ac:spMkLst>
            <pc:docMk/>
            <pc:sldMk cId="1379963575" sldId="4048"/>
            <ac:spMk id="6" creationId="{46BF3998-FBF9-47F0-9EE6-D5BD17B35879}"/>
          </ac:spMkLst>
        </pc:spChg>
      </pc:sldChg>
      <pc:sldChg chg="modSp mod">
        <pc:chgData name="Khaleda Hussain" userId="e5e5a5e2-6d4e-43ef-a58c-f921c0b017d0" providerId="ADAL" clId="{40BE8D4A-F8E4-425B-A798-FF373F23E1F0}" dt="2020-09-16T13:46:28.436" v="151" actId="20577"/>
        <pc:sldMkLst>
          <pc:docMk/>
          <pc:sldMk cId="3370596244" sldId="4055"/>
        </pc:sldMkLst>
        <pc:spChg chg="mod">
          <ac:chgData name="Khaleda Hussain" userId="e5e5a5e2-6d4e-43ef-a58c-f921c0b017d0" providerId="ADAL" clId="{40BE8D4A-F8E4-425B-A798-FF373F23E1F0}" dt="2020-09-16T13:46:28.436" v="151" actId="20577"/>
          <ac:spMkLst>
            <pc:docMk/>
            <pc:sldMk cId="3370596244" sldId="4055"/>
            <ac:spMk id="2" creationId="{A7DADAE4-90BE-4FD3-8FB7-F5728B5A20AB}"/>
          </ac:spMkLst>
        </pc:spChg>
      </pc:sldChg>
      <pc:sldChg chg="delSp modSp del mod">
        <pc:chgData name="Khaleda Hussain" userId="e5e5a5e2-6d4e-43ef-a58c-f921c0b017d0" providerId="ADAL" clId="{40BE8D4A-F8E4-425B-A798-FF373F23E1F0}" dt="2020-09-21T21:54:57.765" v="2392" actId="2696"/>
        <pc:sldMkLst>
          <pc:docMk/>
          <pc:sldMk cId="3916633016" sldId="4061"/>
        </pc:sldMkLst>
        <pc:spChg chg="del">
          <ac:chgData name="Khaleda Hussain" userId="e5e5a5e2-6d4e-43ef-a58c-f921c0b017d0" providerId="ADAL" clId="{40BE8D4A-F8E4-425B-A798-FF373F23E1F0}" dt="2020-09-16T14:09:22.839" v="204" actId="478"/>
          <ac:spMkLst>
            <pc:docMk/>
            <pc:sldMk cId="3916633016" sldId="4061"/>
            <ac:spMk id="4" creationId="{5BB0FDF7-ECB2-4CC3-856F-C22E378B367E}"/>
          </ac:spMkLst>
        </pc:spChg>
        <pc:spChg chg="mod">
          <ac:chgData name="Khaleda Hussain" userId="e5e5a5e2-6d4e-43ef-a58c-f921c0b017d0" providerId="ADAL" clId="{40BE8D4A-F8E4-425B-A798-FF373F23E1F0}" dt="2020-09-21T21:53:48.466" v="2387" actId="14100"/>
          <ac:spMkLst>
            <pc:docMk/>
            <pc:sldMk cId="3916633016" sldId="4061"/>
            <ac:spMk id="7" creationId="{448ED8CC-1327-4BD2-AB0C-ECDB4762F842}"/>
          </ac:spMkLst>
        </pc:spChg>
        <pc:spChg chg="del mod">
          <ac:chgData name="Khaleda Hussain" userId="e5e5a5e2-6d4e-43ef-a58c-f921c0b017d0" providerId="ADAL" clId="{40BE8D4A-F8E4-425B-A798-FF373F23E1F0}" dt="2020-09-21T21:53:32.663" v="2383" actId="478"/>
          <ac:spMkLst>
            <pc:docMk/>
            <pc:sldMk cId="3916633016" sldId="4061"/>
            <ac:spMk id="8" creationId="{B196A669-3C0A-4215-874B-0596BB79AC60}"/>
          </ac:spMkLst>
        </pc:spChg>
      </pc:sldChg>
      <pc:sldChg chg="addSp delSp modSp del mod">
        <pc:chgData name="Khaleda Hussain" userId="e5e5a5e2-6d4e-43ef-a58c-f921c0b017d0" providerId="ADAL" clId="{40BE8D4A-F8E4-425B-A798-FF373F23E1F0}" dt="2020-09-21T21:44:23.910" v="2142" actId="2696"/>
        <pc:sldMkLst>
          <pc:docMk/>
          <pc:sldMk cId="1364210017" sldId="4062"/>
        </pc:sldMkLst>
        <pc:spChg chg="add del mod">
          <ac:chgData name="Khaleda Hussain" userId="e5e5a5e2-6d4e-43ef-a58c-f921c0b017d0" providerId="ADAL" clId="{40BE8D4A-F8E4-425B-A798-FF373F23E1F0}" dt="2020-09-21T21:37:29.839" v="1946" actId="22"/>
          <ac:spMkLst>
            <pc:docMk/>
            <pc:sldMk cId="1364210017" sldId="4062"/>
            <ac:spMk id="3" creationId="{0C6A3316-A1D0-44CA-A267-1C4E7C74669E}"/>
          </ac:spMkLst>
        </pc:spChg>
        <pc:spChg chg="add del mod">
          <ac:chgData name="Khaleda Hussain" userId="e5e5a5e2-6d4e-43ef-a58c-f921c0b017d0" providerId="ADAL" clId="{40BE8D4A-F8E4-425B-A798-FF373F23E1F0}" dt="2020-09-21T21:43:21.919" v="2132" actId="22"/>
          <ac:spMkLst>
            <pc:docMk/>
            <pc:sldMk cId="1364210017" sldId="4062"/>
            <ac:spMk id="4" creationId="{4D7432D3-7E93-49AF-AC4A-3E286E8A8939}"/>
          </ac:spMkLst>
        </pc:spChg>
        <pc:spChg chg="mod">
          <ac:chgData name="Khaleda Hussain" userId="e5e5a5e2-6d4e-43ef-a58c-f921c0b017d0" providerId="ADAL" clId="{40BE8D4A-F8E4-425B-A798-FF373F23E1F0}" dt="2020-09-21T21:37:28.682" v="1944" actId="1076"/>
          <ac:spMkLst>
            <pc:docMk/>
            <pc:sldMk cId="1364210017" sldId="4062"/>
            <ac:spMk id="9" creationId="{FA20E331-3C32-4A06-B9EA-4D84554D6B24}"/>
          </ac:spMkLst>
        </pc:spChg>
        <pc:spChg chg="mod">
          <ac:chgData name="Khaleda Hussain" userId="e5e5a5e2-6d4e-43ef-a58c-f921c0b017d0" providerId="ADAL" clId="{40BE8D4A-F8E4-425B-A798-FF373F23E1F0}" dt="2020-09-17T12:49:33.856" v="257" actId="20577"/>
          <ac:spMkLst>
            <pc:docMk/>
            <pc:sldMk cId="1364210017" sldId="4062"/>
            <ac:spMk id="10" creationId="{B8F3DA69-1170-4F74-BEC7-17B0BFAEC26C}"/>
          </ac:spMkLst>
        </pc:spChg>
        <pc:grpChg chg="mod">
          <ac:chgData name="Khaleda Hussain" userId="e5e5a5e2-6d4e-43ef-a58c-f921c0b017d0" providerId="ADAL" clId="{40BE8D4A-F8E4-425B-A798-FF373F23E1F0}" dt="2020-09-21T21:43:24.351" v="2133" actId="1076"/>
          <ac:grpSpMkLst>
            <pc:docMk/>
            <pc:sldMk cId="1364210017" sldId="4062"/>
            <ac:grpSpMk id="8" creationId="{9DBC0C25-B72A-43CF-81EC-1A894B2F8441}"/>
          </ac:grpSpMkLst>
        </pc:grpChg>
      </pc:sldChg>
      <pc:sldChg chg="addSp delSp modSp del mod">
        <pc:chgData name="Khaleda Hussain" userId="e5e5a5e2-6d4e-43ef-a58c-f921c0b017d0" providerId="ADAL" clId="{40BE8D4A-F8E4-425B-A798-FF373F23E1F0}" dt="2020-09-21T21:22:42.727" v="1320" actId="2696"/>
        <pc:sldMkLst>
          <pc:docMk/>
          <pc:sldMk cId="327648305" sldId="4063"/>
        </pc:sldMkLst>
        <pc:spChg chg="mod">
          <ac:chgData name="Khaleda Hussain" userId="e5e5a5e2-6d4e-43ef-a58c-f921c0b017d0" providerId="ADAL" clId="{40BE8D4A-F8E4-425B-A798-FF373F23E1F0}" dt="2020-09-16T14:09:04.491" v="203" actId="20577"/>
          <ac:spMkLst>
            <pc:docMk/>
            <pc:sldMk cId="327648305" sldId="4063"/>
            <ac:spMk id="2" creationId="{6F3EA001-E618-4510-B05E-E24F0C889773}"/>
          </ac:spMkLst>
        </pc:spChg>
        <pc:spChg chg="del mod">
          <ac:chgData name="Khaleda Hussain" userId="e5e5a5e2-6d4e-43ef-a58c-f921c0b017d0" providerId="ADAL" clId="{40BE8D4A-F8E4-425B-A798-FF373F23E1F0}" dt="2020-09-18T09:54:05.299" v="301" actId="478"/>
          <ac:spMkLst>
            <pc:docMk/>
            <pc:sldMk cId="327648305" sldId="4063"/>
            <ac:spMk id="13" creationId="{F9837353-1C05-433F-AE7D-312ADD8D9660}"/>
          </ac:spMkLst>
        </pc:spChg>
        <pc:spChg chg="del mod">
          <ac:chgData name="Khaleda Hussain" userId="e5e5a5e2-6d4e-43ef-a58c-f921c0b017d0" providerId="ADAL" clId="{40BE8D4A-F8E4-425B-A798-FF373F23E1F0}" dt="2020-09-18T09:54:09.560" v="303" actId="478"/>
          <ac:spMkLst>
            <pc:docMk/>
            <pc:sldMk cId="327648305" sldId="4063"/>
            <ac:spMk id="15" creationId="{ED3A0CC1-22A2-4F27-BED1-E9D58B788834}"/>
          </ac:spMkLst>
        </pc:spChg>
        <pc:graphicFrameChg chg="add del mod">
          <ac:chgData name="Khaleda Hussain" userId="e5e5a5e2-6d4e-43ef-a58c-f921c0b017d0" providerId="ADAL" clId="{40BE8D4A-F8E4-425B-A798-FF373F23E1F0}" dt="2020-09-18T09:54:01.259" v="299"/>
          <ac:graphicFrameMkLst>
            <pc:docMk/>
            <pc:sldMk cId="327648305" sldId="4063"/>
            <ac:graphicFrameMk id="3" creationId="{41BCA992-F90B-447C-884E-221A18E33290}"/>
          </ac:graphicFrameMkLst>
        </pc:graphicFrameChg>
        <pc:graphicFrameChg chg="add mod modGraphic">
          <ac:chgData name="Khaleda Hussain" userId="e5e5a5e2-6d4e-43ef-a58c-f921c0b017d0" providerId="ADAL" clId="{40BE8D4A-F8E4-425B-A798-FF373F23E1F0}" dt="2020-09-18T09:56:27.052" v="316" actId="14734"/>
          <ac:graphicFrameMkLst>
            <pc:docMk/>
            <pc:sldMk cId="327648305" sldId="4063"/>
            <ac:graphicFrameMk id="4" creationId="{9D83D8E7-67A3-4191-BDEE-56D99E54C6BB}"/>
          </ac:graphicFrameMkLst>
        </pc:graphicFrameChg>
        <pc:graphicFrameChg chg="mod">
          <ac:chgData name="Khaleda Hussain" userId="e5e5a5e2-6d4e-43ef-a58c-f921c0b017d0" providerId="ADAL" clId="{40BE8D4A-F8E4-425B-A798-FF373F23E1F0}" dt="2020-09-18T09:53:46.477" v="297"/>
          <ac:graphicFrameMkLst>
            <pc:docMk/>
            <pc:sldMk cId="327648305" sldId="4063"/>
            <ac:graphicFrameMk id="6" creationId="{1E55A1AC-E2E4-403D-8AB6-BF2635FC51FF}"/>
          </ac:graphicFrameMkLst>
        </pc:graphicFrameChg>
      </pc:sldChg>
      <pc:sldChg chg="addSp delSp modSp new mod">
        <pc:chgData name="Khaleda Hussain" userId="e5e5a5e2-6d4e-43ef-a58c-f921c0b017d0" providerId="ADAL" clId="{40BE8D4A-F8E4-425B-A798-FF373F23E1F0}" dt="2020-09-21T21:36:48.132" v="1936" actId="113"/>
        <pc:sldMkLst>
          <pc:docMk/>
          <pc:sldMk cId="9160712" sldId="4064"/>
        </pc:sldMkLst>
        <pc:spChg chg="mod">
          <ac:chgData name="Khaleda Hussain" userId="e5e5a5e2-6d4e-43ef-a58c-f921c0b017d0" providerId="ADAL" clId="{40BE8D4A-F8E4-425B-A798-FF373F23E1F0}" dt="2020-09-17T12:49:55.764" v="274" actId="20577"/>
          <ac:spMkLst>
            <pc:docMk/>
            <pc:sldMk cId="9160712" sldId="4064"/>
            <ac:spMk id="2" creationId="{1116F225-5798-4085-9343-63CFC9801514}"/>
          </ac:spMkLst>
        </pc:spChg>
        <pc:spChg chg="add del">
          <ac:chgData name="Khaleda Hussain" userId="e5e5a5e2-6d4e-43ef-a58c-f921c0b017d0" providerId="ADAL" clId="{40BE8D4A-F8E4-425B-A798-FF373F23E1F0}" dt="2020-09-18T09:57:36.752" v="319" actId="3680"/>
          <ac:spMkLst>
            <pc:docMk/>
            <pc:sldMk cId="9160712" sldId="4064"/>
            <ac:spMk id="3" creationId="{E0F149CA-1D25-4C86-8157-D7E1B3BD110B}"/>
          </ac:spMkLst>
        </pc:spChg>
        <pc:graphicFrameChg chg="add del mod ord modGraphic">
          <ac:chgData name="Khaleda Hussain" userId="e5e5a5e2-6d4e-43ef-a58c-f921c0b017d0" providerId="ADAL" clId="{40BE8D4A-F8E4-425B-A798-FF373F23E1F0}" dt="2020-09-18T09:57:19.013" v="318" actId="3680"/>
          <ac:graphicFrameMkLst>
            <pc:docMk/>
            <pc:sldMk cId="9160712" sldId="4064"/>
            <ac:graphicFrameMk id="4" creationId="{FC0D720C-E9CD-4197-906C-CAC006FF2CAE}"/>
          </ac:graphicFrameMkLst>
        </pc:graphicFrameChg>
        <pc:graphicFrameChg chg="add mod ord modGraphic">
          <ac:chgData name="Khaleda Hussain" userId="e5e5a5e2-6d4e-43ef-a58c-f921c0b017d0" providerId="ADAL" clId="{40BE8D4A-F8E4-425B-A798-FF373F23E1F0}" dt="2020-09-21T21:36:48.132" v="1936" actId="113"/>
          <ac:graphicFrameMkLst>
            <pc:docMk/>
            <pc:sldMk cId="9160712" sldId="4064"/>
            <ac:graphicFrameMk id="5" creationId="{87D69D1B-21D3-40FA-B1B6-F24C81443005}"/>
          </ac:graphicFrameMkLst>
        </pc:graphicFrameChg>
      </pc:sldChg>
      <pc:sldChg chg="modSp new del mod">
        <pc:chgData name="Khaleda Hussain" userId="e5e5a5e2-6d4e-43ef-a58c-f921c0b017d0" providerId="ADAL" clId="{40BE8D4A-F8E4-425B-A798-FF373F23E1F0}" dt="2020-09-21T21:28:26.981" v="1734" actId="2696"/>
        <pc:sldMkLst>
          <pc:docMk/>
          <pc:sldMk cId="144387509" sldId="4065"/>
        </pc:sldMkLst>
        <pc:spChg chg="mod">
          <ac:chgData name="Khaleda Hussain" userId="e5e5a5e2-6d4e-43ef-a58c-f921c0b017d0" providerId="ADAL" clId="{40BE8D4A-F8E4-425B-A798-FF373F23E1F0}" dt="2020-09-17T12:50:07.262" v="290" actId="20577"/>
          <ac:spMkLst>
            <pc:docMk/>
            <pc:sldMk cId="144387509" sldId="4065"/>
            <ac:spMk id="2" creationId="{C7BF982F-18E3-4A21-B3C3-695FE81D2EC2}"/>
          </ac:spMkLst>
        </pc:spChg>
      </pc:sldChg>
      <pc:sldChg chg="modSp add mod">
        <pc:chgData name="Khaleda Hussain" userId="e5e5a5e2-6d4e-43ef-a58c-f921c0b017d0" providerId="ADAL" clId="{40BE8D4A-F8E4-425B-A798-FF373F23E1F0}" dt="2020-09-21T21:36:53.636" v="1937" actId="113"/>
        <pc:sldMkLst>
          <pc:docMk/>
          <pc:sldMk cId="4038174045" sldId="4066"/>
        </pc:sldMkLst>
        <pc:graphicFrameChg chg="mod modGraphic">
          <ac:chgData name="Khaleda Hussain" userId="e5e5a5e2-6d4e-43ef-a58c-f921c0b017d0" providerId="ADAL" clId="{40BE8D4A-F8E4-425B-A798-FF373F23E1F0}" dt="2020-09-21T21:36:53.636" v="1937" actId="113"/>
          <ac:graphicFrameMkLst>
            <pc:docMk/>
            <pc:sldMk cId="4038174045" sldId="4066"/>
            <ac:graphicFrameMk id="5" creationId="{87D69D1B-21D3-40FA-B1B6-F24C81443005}"/>
          </ac:graphicFrameMkLst>
        </pc:graphicFrameChg>
      </pc:sldChg>
      <pc:sldChg chg="modSp add mod">
        <pc:chgData name="Khaleda Hussain" userId="e5e5a5e2-6d4e-43ef-a58c-f921c0b017d0" providerId="ADAL" clId="{40BE8D4A-F8E4-425B-A798-FF373F23E1F0}" dt="2020-09-21T21:36:58.608" v="1938" actId="113"/>
        <pc:sldMkLst>
          <pc:docMk/>
          <pc:sldMk cId="1654734824" sldId="4067"/>
        </pc:sldMkLst>
        <pc:graphicFrameChg chg="mod modGraphic">
          <ac:chgData name="Khaleda Hussain" userId="e5e5a5e2-6d4e-43ef-a58c-f921c0b017d0" providerId="ADAL" clId="{40BE8D4A-F8E4-425B-A798-FF373F23E1F0}" dt="2020-09-21T21:36:58.608" v="1938" actId="113"/>
          <ac:graphicFrameMkLst>
            <pc:docMk/>
            <pc:sldMk cId="1654734824" sldId="4067"/>
            <ac:graphicFrameMk id="5" creationId="{87D69D1B-21D3-40FA-B1B6-F24C81443005}"/>
          </ac:graphicFrameMkLst>
        </pc:graphicFrameChg>
      </pc:sldChg>
      <pc:sldChg chg="modSp add mod">
        <pc:chgData name="Khaleda Hussain" userId="e5e5a5e2-6d4e-43ef-a58c-f921c0b017d0" providerId="ADAL" clId="{40BE8D4A-F8E4-425B-A798-FF373F23E1F0}" dt="2020-09-21T21:37:02.734" v="1939" actId="113"/>
        <pc:sldMkLst>
          <pc:docMk/>
          <pc:sldMk cId="4197011098" sldId="4068"/>
        </pc:sldMkLst>
        <pc:graphicFrameChg chg="mod modGraphic">
          <ac:chgData name="Khaleda Hussain" userId="e5e5a5e2-6d4e-43ef-a58c-f921c0b017d0" providerId="ADAL" clId="{40BE8D4A-F8E4-425B-A798-FF373F23E1F0}" dt="2020-09-21T21:37:02.734" v="1939" actId="113"/>
          <ac:graphicFrameMkLst>
            <pc:docMk/>
            <pc:sldMk cId="4197011098" sldId="4068"/>
            <ac:graphicFrameMk id="5" creationId="{87D69D1B-21D3-40FA-B1B6-F24C81443005}"/>
          </ac:graphicFrameMkLst>
        </pc:graphicFrameChg>
      </pc:sldChg>
      <pc:sldChg chg="new del">
        <pc:chgData name="Khaleda Hussain" userId="e5e5a5e2-6d4e-43ef-a58c-f921c0b017d0" providerId="ADAL" clId="{40BE8D4A-F8E4-425B-A798-FF373F23E1F0}" dt="2020-09-21T21:33:39.996" v="1850" actId="680"/>
        <pc:sldMkLst>
          <pc:docMk/>
          <pc:sldMk cId="1119670124" sldId="4069"/>
        </pc:sldMkLst>
      </pc:sldChg>
      <pc:sldChg chg="modSp add mod">
        <pc:chgData name="Khaleda Hussain" userId="e5e5a5e2-6d4e-43ef-a58c-f921c0b017d0" providerId="ADAL" clId="{40BE8D4A-F8E4-425B-A798-FF373F23E1F0}" dt="2020-09-21T21:37:06.768" v="1940" actId="113"/>
        <pc:sldMkLst>
          <pc:docMk/>
          <pc:sldMk cId="3105502391" sldId="4069"/>
        </pc:sldMkLst>
        <pc:graphicFrameChg chg="mod modGraphic">
          <ac:chgData name="Khaleda Hussain" userId="e5e5a5e2-6d4e-43ef-a58c-f921c0b017d0" providerId="ADAL" clId="{40BE8D4A-F8E4-425B-A798-FF373F23E1F0}" dt="2020-09-21T21:37:06.768" v="1940" actId="113"/>
          <ac:graphicFrameMkLst>
            <pc:docMk/>
            <pc:sldMk cId="3105502391" sldId="4069"/>
            <ac:graphicFrameMk id="5" creationId="{87D69D1B-21D3-40FA-B1B6-F24C81443005}"/>
          </ac:graphicFrameMkLst>
        </pc:graphicFrameChg>
      </pc:sldChg>
      <pc:sldChg chg="new del modTransition">
        <pc:chgData name="Khaleda Hussain" userId="e5e5a5e2-6d4e-43ef-a58c-f921c0b017d0" providerId="ADAL" clId="{40BE8D4A-F8E4-425B-A798-FF373F23E1F0}" dt="2020-09-21T21:40:23.232" v="1950" actId="680"/>
        <pc:sldMkLst>
          <pc:docMk/>
          <pc:sldMk cId="826845769" sldId="4070"/>
        </pc:sldMkLst>
      </pc:sldChg>
      <pc:sldChg chg="modSp add del mod">
        <pc:chgData name="Khaleda Hussain" userId="e5e5a5e2-6d4e-43ef-a58c-f921c0b017d0" providerId="ADAL" clId="{40BE8D4A-F8E4-425B-A798-FF373F23E1F0}" dt="2020-09-21T22:01:50.407" v="2687" actId="2696"/>
        <pc:sldMkLst>
          <pc:docMk/>
          <pc:sldMk cId="1423354194" sldId="4070"/>
        </pc:sldMkLst>
        <pc:spChg chg="mod">
          <ac:chgData name="Khaleda Hussain" userId="e5e5a5e2-6d4e-43ef-a58c-f921c0b017d0" providerId="ADAL" clId="{40BE8D4A-F8E4-425B-A798-FF373F23E1F0}" dt="2020-09-21T21:57:24.705" v="2680" actId="14100"/>
          <ac:spMkLst>
            <pc:docMk/>
            <pc:sldMk cId="1423354194" sldId="4070"/>
            <ac:spMk id="7" creationId="{448ED8CC-1327-4BD2-AB0C-ECDB4762F842}"/>
          </ac:spMkLst>
        </pc:spChg>
        <pc:spChg chg="mod">
          <ac:chgData name="Khaleda Hussain" userId="e5e5a5e2-6d4e-43ef-a58c-f921c0b017d0" providerId="ADAL" clId="{40BE8D4A-F8E4-425B-A798-FF373F23E1F0}" dt="2020-09-21T21:58:34.721" v="2685"/>
          <ac:spMkLst>
            <pc:docMk/>
            <pc:sldMk cId="1423354194" sldId="4070"/>
            <ac:spMk id="8" creationId="{B196A669-3C0A-4215-874B-0596BB79AC60}"/>
          </ac:spMkLst>
        </pc:spChg>
      </pc:sldChg>
      <pc:sldChg chg="new del">
        <pc:chgData name="Khaleda Hussain" userId="e5e5a5e2-6d4e-43ef-a58c-f921c0b017d0" providerId="ADAL" clId="{40BE8D4A-F8E4-425B-A798-FF373F23E1F0}" dt="2020-09-21T21:41:22.475" v="1960" actId="2696"/>
        <pc:sldMkLst>
          <pc:docMk/>
          <pc:sldMk cId="1981294930" sldId="4070"/>
        </pc:sldMkLst>
      </pc:sldChg>
      <pc:sldChg chg="modSp add mod">
        <pc:chgData name="Khaleda Hussain" userId="e5e5a5e2-6d4e-43ef-a58c-f921c0b017d0" providerId="ADAL" clId="{40BE8D4A-F8E4-425B-A798-FF373F23E1F0}" dt="2020-09-22T11:17:02.705" v="3947" actId="20577"/>
        <pc:sldMkLst>
          <pc:docMk/>
          <pc:sldMk cId="3004344647" sldId="4071"/>
        </pc:sldMkLst>
        <pc:spChg chg="mod">
          <ac:chgData name="Khaleda Hussain" userId="e5e5a5e2-6d4e-43ef-a58c-f921c0b017d0" providerId="ADAL" clId="{40BE8D4A-F8E4-425B-A798-FF373F23E1F0}" dt="2020-09-22T11:10:07.615" v="3655" actId="1076"/>
          <ac:spMkLst>
            <pc:docMk/>
            <pc:sldMk cId="3004344647" sldId="4071"/>
            <ac:spMk id="7" creationId="{448ED8CC-1327-4BD2-AB0C-ECDB4762F842}"/>
          </ac:spMkLst>
        </pc:spChg>
        <pc:spChg chg="mod">
          <ac:chgData name="Khaleda Hussain" userId="e5e5a5e2-6d4e-43ef-a58c-f921c0b017d0" providerId="ADAL" clId="{40BE8D4A-F8E4-425B-A798-FF373F23E1F0}" dt="2020-09-22T11:17:02.705" v="3947" actId="20577"/>
          <ac:spMkLst>
            <pc:docMk/>
            <pc:sldMk cId="3004344647" sldId="4071"/>
            <ac:spMk id="8" creationId="{B196A669-3C0A-4215-874B-0596BB79AC6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AD280-C362-4E11-8438-8AA42FEA868A}" type="datetimeFigureOut">
              <a:rPr lang="en-GB" smtClean="0"/>
              <a:t>22/09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0E7E3A-13DD-4539-836D-0A6BAFDEED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7416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EB329E-0AF6-4D16-A3DB-DF260CCA223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8628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122E49-31A7-4F63-B5C3-2BA914BDC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041707-758B-41B4-870C-BA338C78B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089ED0-D78D-4E69-AED2-CAFA0F7E2C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993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FB2F9DF-FE40-4CE7-B5BF-EF3C64E98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5450" y="6390481"/>
            <a:ext cx="770951" cy="192287"/>
          </a:xfr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DCC_final_Logo_RGB.png">
            <a:extLst>
              <a:ext uri="{FF2B5EF4-FFF2-40B4-BE49-F238E27FC236}">
                <a16:creationId xmlns:a16="http://schemas.microsoft.com/office/drawing/2014/main" id="{9EDD4FA0-2227-4D3B-9D6F-E530AC13DB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293" y="6190804"/>
            <a:ext cx="1263145" cy="406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6398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1AF0FA-24D8-4824-8A5D-30E455FE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5450" y="6390481"/>
            <a:ext cx="770951" cy="192287"/>
          </a:xfr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7088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0000" y="1800000"/>
            <a:ext cx="6644640" cy="1800000"/>
          </a:xfrm>
        </p:spPr>
        <p:txBody>
          <a:bodyPr anchor="t" anchorCtr="0"/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0000" y="3968750"/>
            <a:ext cx="6644640" cy="978635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1F144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60000" y="4956136"/>
            <a:ext cx="2743200" cy="365125"/>
          </a:xfrm>
        </p:spPr>
        <p:txBody>
          <a:bodyPr/>
          <a:lstStyle>
            <a:lvl1pPr>
              <a:defRPr sz="1300">
                <a:solidFill>
                  <a:srgbClr val="BF1B58"/>
                </a:solidFill>
              </a:defRPr>
            </a:lvl1pPr>
          </a:lstStyle>
          <a:p>
            <a:fld id="{3A0DD9F3-2568-294A-B717-29176428A082}" type="datetime4">
              <a:rPr lang="en-GB" smtClean="0"/>
              <a:t>22 September 2020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8F7E22-8882-7045-8128-A6C8779F0A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9677" y="359999"/>
            <a:ext cx="2207808" cy="698449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3AFBF2-5BF2-6145-8243-A434BB03D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60000" y="5330012"/>
            <a:ext cx="4114800" cy="360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5826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8B9C7F-46D9-B04F-80F7-F815C62F245A}"/>
              </a:ext>
            </a:extLst>
          </p:cNvPr>
          <p:cNvSpPr/>
          <p:nvPr userDrawn="1"/>
        </p:nvSpPr>
        <p:spPr>
          <a:xfrm>
            <a:off x="0" y="6162668"/>
            <a:ext cx="12192000" cy="720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00" y="360000"/>
            <a:ext cx="9000000" cy="72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9B323-5B88-7F4E-A905-A7F5BF0FA05A}" type="datetime4">
              <a:rPr lang="en-GB" smtClean="0"/>
              <a:t>22 September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60000" y="6356350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7456A64-A43E-C442-93DA-11B3E579071B}"/>
              </a:ext>
            </a:extLst>
          </p:cNvPr>
          <p:cNvSpPr/>
          <p:nvPr userDrawn="1"/>
        </p:nvSpPr>
        <p:spPr>
          <a:xfrm>
            <a:off x="348991" y="6325858"/>
            <a:ext cx="371009" cy="360000"/>
          </a:xfrm>
          <a:prstGeom prst="ellipse">
            <a:avLst/>
          </a:prstGeom>
          <a:noFill/>
          <a:ln w="25400">
            <a:solidFill>
              <a:srgbClr val="8618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CE0B18F8-D393-724C-B4D7-64CBA0C770AB}"/>
              </a:ext>
            </a:extLst>
          </p:cNvPr>
          <p:cNvSpPr txBox="1">
            <a:spLocks/>
          </p:cNvSpPr>
          <p:nvPr userDrawn="1"/>
        </p:nvSpPr>
        <p:spPr>
          <a:xfrm>
            <a:off x="360000" y="6411987"/>
            <a:ext cx="371008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613C8D-C864-C543-AF89-04A4A766BF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EC865F-46B3-4156-A80E-F801C2C496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5631" y="6352167"/>
            <a:ext cx="1149305" cy="364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6781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andard Two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A539E14-A1AD-7644-BFE6-12807C13FCFF}"/>
              </a:ext>
            </a:extLst>
          </p:cNvPr>
          <p:cNvSpPr/>
          <p:nvPr userDrawn="1"/>
        </p:nvSpPr>
        <p:spPr>
          <a:xfrm>
            <a:off x="0" y="6162668"/>
            <a:ext cx="12192000" cy="720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4B55CFF-7EC3-A74A-BF04-D6CCB1169126}"/>
              </a:ext>
            </a:extLst>
          </p:cNvPr>
          <p:cNvSpPr/>
          <p:nvPr userDrawn="1"/>
        </p:nvSpPr>
        <p:spPr>
          <a:xfrm>
            <a:off x="348991" y="6325858"/>
            <a:ext cx="371009" cy="360000"/>
          </a:xfrm>
          <a:prstGeom prst="ellipse">
            <a:avLst/>
          </a:prstGeom>
          <a:noFill/>
          <a:ln w="25400">
            <a:solidFill>
              <a:srgbClr val="8618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00" y="360000"/>
            <a:ext cx="9000000" cy="72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25200" y="1440000"/>
            <a:ext cx="43200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52000" y="1440000"/>
            <a:ext cx="43200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D5861-496A-B745-A1F0-0B2FBFCF20BD}" type="datetime4">
              <a:rPr lang="en-GB" smtClean="0"/>
              <a:t>22 September 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60000" y="6411600"/>
            <a:ext cx="360000" cy="365125"/>
          </a:xfrm>
        </p:spPr>
        <p:txBody>
          <a:bodyPr/>
          <a:lstStyle>
            <a:lvl1pPr algn="ctr">
              <a:defRPr/>
            </a:lvl1pPr>
          </a:lstStyle>
          <a:p>
            <a:fld id="{2B613C8D-C864-C543-AF89-04A4A766BF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98A4709-5850-419D-927D-AFC3AA96DA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5631" y="6352167"/>
            <a:ext cx="1149305" cy="364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115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AD0B36C-6798-7045-B3DB-1367BFB0665F}"/>
              </a:ext>
            </a:extLst>
          </p:cNvPr>
          <p:cNvSpPr/>
          <p:nvPr userDrawn="1"/>
        </p:nvSpPr>
        <p:spPr>
          <a:xfrm>
            <a:off x="0" y="6162668"/>
            <a:ext cx="12192000" cy="7200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AEABC-89E7-2A45-A8BB-BECC4B0411F1}" type="datetime4">
              <a:rPr lang="en-GB" smtClean="0"/>
              <a:t>22 September 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60000" y="6411600"/>
            <a:ext cx="360000" cy="365125"/>
          </a:xfrm>
        </p:spPr>
        <p:txBody>
          <a:bodyPr/>
          <a:lstStyle>
            <a:lvl1pPr algn="ctr">
              <a:defRPr/>
            </a:lvl1pPr>
          </a:lstStyle>
          <a:p>
            <a:fld id="{2B613C8D-C864-C543-AF89-04A4A766BF1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7B79C46-2191-7F42-9973-CCCBA56645B4}"/>
              </a:ext>
            </a:extLst>
          </p:cNvPr>
          <p:cNvSpPr/>
          <p:nvPr userDrawn="1"/>
        </p:nvSpPr>
        <p:spPr>
          <a:xfrm>
            <a:off x="348991" y="6325858"/>
            <a:ext cx="371009" cy="360000"/>
          </a:xfrm>
          <a:prstGeom prst="ellipse">
            <a:avLst/>
          </a:prstGeom>
          <a:noFill/>
          <a:ln w="25400">
            <a:solidFill>
              <a:srgbClr val="8618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A3F6C9-BEC9-4676-941C-124620F244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65631" y="6352167"/>
            <a:ext cx="1149305" cy="364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849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0000" y="1800000"/>
            <a:ext cx="6644640" cy="1800000"/>
          </a:xfrm>
        </p:spPr>
        <p:txBody>
          <a:bodyPr anchor="t" anchorCtr="0"/>
          <a:lstStyle>
            <a:lvl1pPr algn="l">
              <a:defRPr sz="4000">
                <a:solidFill>
                  <a:srgbClr val="1F144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0000" y="3968752"/>
            <a:ext cx="6644640" cy="978635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1F144A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60000" y="4956138"/>
            <a:ext cx="2743200" cy="365125"/>
          </a:xfrm>
        </p:spPr>
        <p:txBody>
          <a:bodyPr/>
          <a:lstStyle>
            <a:lvl1pPr algn="l">
              <a:defRPr sz="1300">
                <a:solidFill>
                  <a:srgbClr val="1F144A"/>
                </a:solidFill>
              </a:defRPr>
            </a:lvl1pPr>
          </a:lstStyle>
          <a:p>
            <a:fld id="{99F75370-880A-6045-902D-EA42064FA6B6}" type="datetime4">
              <a:rPr lang="en-GB" smtClean="0"/>
              <a:pPr/>
              <a:t>22 September 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3AFBF2-5BF2-6145-8243-A434BB03D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60000" y="5330012"/>
            <a:ext cx="4114800" cy="360000"/>
          </a:xfrm>
        </p:spPr>
        <p:txBody>
          <a:bodyPr/>
          <a:lstStyle>
            <a:lvl1pPr>
              <a:defRPr>
                <a:solidFill>
                  <a:srgbClr val="1F144A"/>
                </a:solidFill>
              </a:defRPr>
            </a:lvl1pPr>
          </a:lstStyle>
          <a:p>
            <a:pPr algn="l"/>
            <a:r>
              <a:rPr lang="en-US"/>
              <a:t>Insert DCC category titl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A8F52F-46BA-7E49-8DCC-ADBFA4778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0000" y="360000"/>
            <a:ext cx="2269490" cy="71948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53E04FD-AFF5-E546-ACFD-910B28DB6736}"/>
              </a:ext>
            </a:extLst>
          </p:cNvPr>
          <p:cNvSpPr/>
          <p:nvPr userDrawn="1"/>
        </p:nvSpPr>
        <p:spPr>
          <a:xfrm>
            <a:off x="8605977" y="5047578"/>
            <a:ext cx="1296975" cy="1296975"/>
          </a:xfrm>
          <a:prstGeom prst="ellipse">
            <a:avLst/>
          </a:prstGeom>
          <a:solidFill>
            <a:schemeClr val="accent3">
              <a:alpha val="9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6E5817A-2D6B-DF4D-ADDF-DBFAE2F9EC57}"/>
              </a:ext>
            </a:extLst>
          </p:cNvPr>
          <p:cNvSpPr/>
          <p:nvPr userDrawn="1"/>
        </p:nvSpPr>
        <p:spPr>
          <a:xfrm>
            <a:off x="9409176" y="4762536"/>
            <a:ext cx="2995464" cy="2995464"/>
          </a:xfrm>
          <a:prstGeom prst="ellipse">
            <a:avLst/>
          </a:prstGeom>
          <a:solidFill>
            <a:schemeClr val="accent4">
              <a:alpha val="9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9004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540000"/>
            <a:ext cx="90000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19999" y="6482648"/>
            <a:ext cx="10897879" cy="143408"/>
          </a:xfrm>
        </p:spPr>
        <p:txBody>
          <a:bodyPr/>
          <a:lstStyle>
            <a:lvl1pPr>
              <a:defRPr>
                <a:solidFill>
                  <a:srgbClr val="F5F5F5"/>
                </a:solidFill>
              </a:defRPr>
            </a:lvl1pPr>
          </a:lstStyle>
          <a:p>
            <a:r>
              <a:rPr lang="en-US"/>
              <a:t>Insert DCC category title here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CE0B18F8-D393-724C-B4D7-64CBA0C770AB}"/>
              </a:ext>
            </a:extLst>
          </p:cNvPr>
          <p:cNvSpPr txBox="1">
            <a:spLocks/>
          </p:cNvSpPr>
          <p:nvPr userDrawn="1"/>
        </p:nvSpPr>
        <p:spPr>
          <a:xfrm>
            <a:off x="9153650" y="6482648"/>
            <a:ext cx="2464229" cy="14340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i="0">
                <a:solidFill>
                  <a:schemeClr val="bg1"/>
                </a:solidFill>
                <a:latin typeface="Lato" panose="020F0502020204030203" pitchFamily="34" charset="77"/>
              </a:rPr>
              <a:t> </a:t>
            </a:r>
            <a:fld id="{68F1BF3E-5F0E-D24A-8AA5-A9EEC54EF19C}" type="datetime4">
              <a:rPr lang="en-GB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22 September 2020</a:t>
            </a:fld>
            <a:r>
              <a:rPr lang="en-GB" sz="900" b="1" i="0">
                <a:solidFill>
                  <a:schemeClr val="bg1"/>
                </a:solidFill>
                <a:latin typeface="Lato" panose="020F0502020204030203" pitchFamily="34" charset="77"/>
              </a:rPr>
              <a:t>    |    </a:t>
            </a:r>
            <a:fld id="{2B613C8D-C864-C543-AF89-04A4A766BF11}" type="slidenum">
              <a:rPr lang="en-US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‹#›</a:t>
            </a:fld>
            <a:endParaRPr lang="en-US" sz="900" b="1" i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DD57ED-5918-664A-AE43-E2962133AE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6330951"/>
            <a:ext cx="1249111" cy="39600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EC2FDE-593E-9541-9BBF-FF0D99C9FE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080000"/>
            <a:ext cx="9000000" cy="4140000"/>
          </a:xfrm>
        </p:spPr>
        <p:txBody>
          <a:bodyPr/>
          <a:lstStyle>
            <a:lvl1pPr marL="0" indent="0">
              <a:buFontTx/>
              <a:buNone/>
              <a:defRPr sz="1600" b="1">
                <a:solidFill>
                  <a:srgbClr val="1F144A"/>
                </a:solidFill>
              </a:defRPr>
            </a:lvl1pPr>
            <a:lvl2pPr marL="457189" indent="0">
              <a:buFontTx/>
              <a:buNone/>
              <a:tabLst/>
              <a:defRPr sz="1400">
                <a:solidFill>
                  <a:srgbClr val="1F144A"/>
                </a:solidFill>
              </a:defRPr>
            </a:lvl2pPr>
            <a:lvl3pPr marL="914377" indent="0">
              <a:buFontTx/>
              <a:buNone/>
              <a:defRPr>
                <a:solidFill>
                  <a:srgbClr val="1F144A"/>
                </a:solidFill>
              </a:defRPr>
            </a:lvl3pPr>
            <a:lvl4pPr marL="1371566" indent="0">
              <a:buFontTx/>
              <a:buNone/>
              <a:defRPr>
                <a:solidFill>
                  <a:srgbClr val="1F144A"/>
                </a:solidFill>
              </a:defRPr>
            </a:lvl4pPr>
            <a:lvl5pPr marL="1828754" indent="0">
              <a:buFontTx/>
              <a:buNone/>
              <a:defRPr>
                <a:solidFill>
                  <a:srgbClr val="1F144A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4645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andard Two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540000"/>
            <a:ext cx="90000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0000" y="1080000"/>
            <a:ext cx="43200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00000" y="1080000"/>
            <a:ext cx="43200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DD0BD0-3F0D-8948-B9C8-C761D42DB7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6330951"/>
            <a:ext cx="1249111" cy="39600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E0BA1CC-0392-9246-A7FB-1D41CCBAF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9" y="6482648"/>
            <a:ext cx="10897879" cy="143408"/>
          </a:xfrm>
        </p:spPr>
        <p:txBody>
          <a:bodyPr/>
          <a:lstStyle>
            <a:lvl1pPr>
              <a:defRPr>
                <a:solidFill>
                  <a:srgbClr val="F5F5F5"/>
                </a:solidFill>
              </a:defRPr>
            </a:lvl1pPr>
          </a:lstStyle>
          <a:p>
            <a:r>
              <a:rPr lang="en-US"/>
              <a:t>Insert DCC category title here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CFF8A314-B502-C345-9637-4F95290F284F}"/>
              </a:ext>
            </a:extLst>
          </p:cNvPr>
          <p:cNvSpPr txBox="1">
            <a:spLocks/>
          </p:cNvSpPr>
          <p:nvPr userDrawn="1"/>
        </p:nvSpPr>
        <p:spPr>
          <a:xfrm>
            <a:off x="9153650" y="6482648"/>
            <a:ext cx="2464229" cy="14340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i="0">
                <a:solidFill>
                  <a:schemeClr val="bg1"/>
                </a:solidFill>
                <a:latin typeface="Lato" panose="020F0502020204030203" pitchFamily="34" charset="77"/>
              </a:rPr>
              <a:t> </a:t>
            </a:r>
            <a:fld id="{68F1BF3E-5F0E-D24A-8AA5-A9EEC54EF19C}" type="datetime4">
              <a:rPr lang="en-GB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22 September 2020</a:t>
            </a:fld>
            <a:r>
              <a:rPr lang="en-GB" sz="900" b="1" i="0">
                <a:solidFill>
                  <a:schemeClr val="bg1"/>
                </a:solidFill>
                <a:latin typeface="Lato" panose="020F0502020204030203" pitchFamily="34" charset="77"/>
              </a:rPr>
              <a:t>    |    </a:t>
            </a:r>
            <a:fld id="{2B613C8D-C864-C543-AF89-04A4A766BF11}" type="slidenum">
              <a:rPr lang="en-US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‹#›</a:t>
            </a:fld>
            <a:endParaRPr lang="en-US" sz="900" b="1" i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875199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99EEE5E-9535-8B49-A425-83AF87AA0A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6330951"/>
            <a:ext cx="1249111" cy="396000"/>
          </a:xfrm>
          <a:prstGeom prst="rect">
            <a:avLst/>
          </a:prstGeom>
        </p:spPr>
      </p:pic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3C092D7-3C9B-1D4F-85B2-6C6ACE0B4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9" y="6482648"/>
            <a:ext cx="10897879" cy="143408"/>
          </a:xfrm>
        </p:spPr>
        <p:txBody>
          <a:bodyPr/>
          <a:lstStyle>
            <a:lvl1pPr>
              <a:defRPr>
                <a:solidFill>
                  <a:srgbClr val="F5F5F5"/>
                </a:solidFill>
              </a:defRPr>
            </a:lvl1pPr>
          </a:lstStyle>
          <a:p>
            <a:r>
              <a:rPr lang="en-US"/>
              <a:t>Insert DCC category title her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AFE4FA8-3512-5046-BE8B-1AE90529CAA1}"/>
              </a:ext>
            </a:extLst>
          </p:cNvPr>
          <p:cNvSpPr txBox="1">
            <a:spLocks/>
          </p:cNvSpPr>
          <p:nvPr userDrawn="1"/>
        </p:nvSpPr>
        <p:spPr>
          <a:xfrm>
            <a:off x="9153650" y="6482648"/>
            <a:ext cx="2464229" cy="14340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i="0">
                <a:solidFill>
                  <a:schemeClr val="bg1"/>
                </a:solidFill>
                <a:latin typeface="Lato" panose="020F0502020204030203" pitchFamily="34" charset="77"/>
              </a:rPr>
              <a:t> </a:t>
            </a:r>
            <a:fld id="{68F1BF3E-5F0E-D24A-8AA5-A9EEC54EF19C}" type="datetime4">
              <a:rPr lang="en-GB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22 September 2020</a:t>
            </a:fld>
            <a:r>
              <a:rPr lang="en-GB" sz="900" b="1" i="0">
                <a:solidFill>
                  <a:schemeClr val="bg1"/>
                </a:solidFill>
                <a:latin typeface="Lato" panose="020F0502020204030203" pitchFamily="34" charset="77"/>
              </a:rPr>
              <a:t>    |    </a:t>
            </a:r>
            <a:fld id="{2B613C8D-C864-C543-AF89-04A4A766BF11}" type="slidenum">
              <a:rPr lang="en-US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‹#›</a:t>
            </a:fld>
            <a:endParaRPr lang="en-US" sz="900" b="1" i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565701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16588F-C418-45A9-A33E-3C0D24575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664CA-45CF-4410-86AA-FCDC64B92A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E7C568-1235-477F-A661-75EBACABE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4619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6801" y="2520288"/>
            <a:ext cx="4979201" cy="1219522"/>
          </a:xfrm>
        </p:spPr>
        <p:txBody>
          <a:bodyPr anchor="t" anchorCtr="0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8E56FA-68CE-7E40-A091-322DAAC2D9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6330951"/>
            <a:ext cx="1249111" cy="396000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B39409A-0B05-5240-883D-9A41FC549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9" y="6482648"/>
            <a:ext cx="10897879" cy="143408"/>
          </a:xfrm>
        </p:spPr>
        <p:txBody>
          <a:bodyPr/>
          <a:lstStyle>
            <a:lvl1pPr>
              <a:defRPr>
                <a:solidFill>
                  <a:srgbClr val="F5F5F5"/>
                </a:solidFill>
              </a:defRPr>
            </a:lvl1pPr>
          </a:lstStyle>
          <a:p>
            <a:r>
              <a:rPr lang="en-US"/>
              <a:t>Insert DCC category title here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CA4EABB-5E32-A94F-A685-BC0029D537BC}"/>
              </a:ext>
            </a:extLst>
          </p:cNvPr>
          <p:cNvSpPr txBox="1">
            <a:spLocks/>
          </p:cNvSpPr>
          <p:nvPr userDrawn="1"/>
        </p:nvSpPr>
        <p:spPr>
          <a:xfrm>
            <a:off x="9153650" y="6482648"/>
            <a:ext cx="2464229" cy="14340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i="0">
                <a:solidFill>
                  <a:schemeClr val="bg1"/>
                </a:solidFill>
                <a:latin typeface="Lato" panose="020F0502020204030203" pitchFamily="34" charset="77"/>
              </a:rPr>
              <a:t> </a:t>
            </a:r>
            <a:fld id="{68F1BF3E-5F0E-D24A-8AA5-A9EEC54EF19C}" type="datetime4">
              <a:rPr lang="en-GB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22 September 2020</a:t>
            </a:fld>
            <a:r>
              <a:rPr lang="en-GB" sz="900" b="1" i="0">
                <a:solidFill>
                  <a:schemeClr val="bg1"/>
                </a:solidFill>
                <a:latin typeface="Lato" panose="020F0502020204030203" pitchFamily="34" charset="77"/>
              </a:rPr>
              <a:t>    |    </a:t>
            </a:r>
            <a:fld id="{2B613C8D-C864-C543-AF89-04A4A766BF11}" type="slidenum">
              <a:rPr lang="en-US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‹#›</a:t>
            </a:fld>
            <a:endParaRPr lang="en-US" sz="900" b="1" i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4289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0000" y="1800000"/>
            <a:ext cx="6644640" cy="1800000"/>
          </a:xfrm>
        </p:spPr>
        <p:txBody>
          <a:bodyPr anchor="t" anchorCtr="0"/>
          <a:lstStyle>
            <a:lvl1pPr algn="l">
              <a:defRPr sz="4000">
                <a:solidFill>
                  <a:srgbClr val="1F144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0000" y="3968752"/>
            <a:ext cx="6644640" cy="978635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1F144A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60000" y="4956138"/>
            <a:ext cx="2743200" cy="365125"/>
          </a:xfrm>
        </p:spPr>
        <p:txBody>
          <a:bodyPr/>
          <a:lstStyle>
            <a:lvl1pPr algn="l">
              <a:defRPr sz="1300">
                <a:solidFill>
                  <a:srgbClr val="1F144A"/>
                </a:solidFill>
              </a:defRPr>
            </a:lvl1pPr>
          </a:lstStyle>
          <a:p>
            <a:fld id="{99F75370-880A-6045-902D-EA42064FA6B6}" type="datetime4">
              <a:rPr lang="en-GB" smtClean="0"/>
              <a:pPr/>
              <a:t>22 September 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3AFBF2-5BF2-6145-8243-A434BB03D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60000" y="5330012"/>
            <a:ext cx="4114800" cy="360000"/>
          </a:xfrm>
        </p:spPr>
        <p:txBody>
          <a:bodyPr/>
          <a:lstStyle>
            <a:lvl1pPr>
              <a:defRPr>
                <a:solidFill>
                  <a:srgbClr val="1F144A"/>
                </a:solidFill>
              </a:defRPr>
            </a:lvl1pPr>
          </a:lstStyle>
          <a:p>
            <a:pPr algn="l"/>
            <a:r>
              <a:rPr lang="en-US" dirty="0"/>
              <a:t>Insert DCC category titl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A8F52F-46BA-7E49-8DCC-ADBFA47784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0000" y="360000"/>
            <a:ext cx="2269490" cy="71948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53E04FD-AFF5-E546-ACFD-910B28DB6736}"/>
              </a:ext>
            </a:extLst>
          </p:cNvPr>
          <p:cNvSpPr/>
          <p:nvPr userDrawn="1"/>
        </p:nvSpPr>
        <p:spPr>
          <a:xfrm>
            <a:off x="8605977" y="5047578"/>
            <a:ext cx="1296975" cy="1296975"/>
          </a:xfrm>
          <a:prstGeom prst="ellipse">
            <a:avLst/>
          </a:prstGeom>
          <a:solidFill>
            <a:schemeClr val="accent3">
              <a:alpha val="9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6E5817A-2D6B-DF4D-ADDF-DBFAE2F9EC57}"/>
              </a:ext>
            </a:extLst>
          </p:cNvPr>
          <p:cNvSpPr/>
          <p:nvPr userDrawn="1"/>
        </p:nvSpPr>
        <p:spPr>
          <a:xfrm>
            <a:off x="9409176" y="4762536"/>
            <a:ext cx="2995464" cy="2995464"/>
          </a:xfrm>
          <a:prstGeom prst="ellipse">
            <a:avLst/>
          </a:prstGeom>
          <a:solidFill>
            <a:schemeClr val="accent4">
              <a:alpha val="90000"/>
            </a:schemeClr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2020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540000"/>
            <a:ext cx="9000000" cy="72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19999" y="6482648"/>
            <a:ext cx="10897879" cy="143408"/>
          </a:xfrm>
        </p:spPr>
        <p:txBody>
          <a:bodyPr/>
          <a:lstStyle>
            <a:lvl1pPr>
              <a:defRPr>
                <a:solidFill>
                  <a:srgbClr val="F5F5F5"/>
                </a:solidFill>
              </a:defRPr>
            </a:lvl1pPr>
          </a:lstStyle>
          <a:p>
            <a:r>
              <a:rPr lang="en-US" dirty="0"/>
              <a:t>Insert DCC category title here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CE0B18F8-D393-724C-B4D7-64CBA0C770AB}"/>
              </a:ext>
            </a:extLst>
          </p:cNvPr>
          <p:cNvSpPr txBox="1">
            <a:spLocks/>
          </p:cNvSpPr>
          <p:nvPr userDrawn="1"/>
        </p:nvSpPr>
        <p:spPr>
          <a:xfrm>
            <a:off x="9153650" y="6482648"/>
            <a:ext cx="2464229" cy="14340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i="0" dirty="0">
                <a:solidFill>
                  <a:schemeClr val="bg1"/>
                </a:solidFill>
                <a:latin typeface="Lato" panose="020F0502020204030203" pitchFamily="34" charset="77"/>
              </a:rPr>
              <a:t> </a:t>
            </a:r>
            <a:fld id="{68F1BF3E-5F0E-D24A-8AA5-A9EEC54EF19C}" type="datetime4">
              <a:rPr lang="en-GB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22 September 2020</a:t>
            </a:fld>
            <a:r>
              <a:rPr lang="en-GB" sz="900" b="1" i="0" dirty="0">
                <a:solidFill>
                  <a:schemeClr val="bg1"/>
                </a:solidFill>
                <a:latin typeface="Lato" panose="020F0502020204030203" pitchFamily="34" charset="77"/>
              </a:rPr>
              <a:t>    |    </a:t>
            </a:r>
            <a:fld id="{2B613C8D-C864-C543-AF89-04A4A766BF11}" type="slidenum">
              <a:rPr lang="en-US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‹#›</a:t>
            </a:fld>
            <a:endParaRPr lang="en-US" sz="900" b="1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DD57ED-5918-664A-AE43-E2962133AE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6330951"/>
            <a:ext cx="1249111" cy="39600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5EC2FDE-593E-9541-9BBF-FF0D99C9FE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080000"/>
            <a:ext cx="9000000" cy="4140000"/>
          </a:xfrm>
        </p:spPr>
        <p:txBody>
          <a:bodyPr/>
          <a:lstStyle>
            <a:lvl1pPr marL="0" indent="0">
              <a:buFontTx/>
              <a:buNone/>
              <a:defRPr sz="1600" b="1">
                <a:solidFill>
                  <a:srgbClr val="1F144A"/>
                </a:solidFill>
              </a:defRPr>
            </a:lvl1pPr>
            <a:lvl2pPr marL="457189" indent="0">
              <a:buFontTx/>
              <a:buNone/>
              <a:tabLst/>
              <a:defRPr sz="1400">
                <a:solidFill>
                  <a:srgbClr val="1F144A"/>
                </a:solidFill>
              </a:defRPr>
            </a:lvl2pPr>
            <a:lvl3pPr marL="914377" indent="0">
              <a:buFontTx/>
              <a:buNone/>
              <a:defRPr>
                <a:solidFill>
                  <a:srgbClr val="1F144A"/>
                </a:solidFill>
              </a:defRPr>
            </a:lvl3pPr>
            <a:lvl4pPr marL="1371566" indent="0">
              <a:buFontTx/>
              <a:buNone/>
              <a:defRPr>
                <a:solidFill>
                  <a:srgbClr val="1F144A"/>
                </a:solidFill>
              </a:defRPr>
            </a:lvl4pPr>
            <a:lvl5pPr marL="1828754" indent="0">
              <a:buFontTx/>
              <a:buNone/>
              <a:defRPr>
                <a:solidFill>
                  <a:srgbClr val="1F144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1060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andard Two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540000"/>
            <a:ext cx="9000000" cy="72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0000" y="1080000"/>
            <a:ext cx="43200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00000" y="1080000"/>
            <a:ext cx="43200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DD0BD0-3F0D-8948-B9C8-C761D42DB7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6330951"/>
            <a:ext cx="1249111" cy="396000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E0BA1CC-0392-9246-A7FB-1D41CCBAF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9" y="6482648"/>
            <a:ext cx="10897879" cy="143408"/>
          </a:xfrm>
        </p:spPr>
        <p:txBody>
          <a:bodyPr/>
          <a:lstStyle>
            <a:lvl1pPr>
              <a:defRPr>
                <a:solidFill>
                  <a:srgbClr val="F5F5F5"/>
                </a:solidFill>
              </a:defRPr>
            </a:lvl1pPr>
          </a:lstStyle>
          <a:p>
            <a:r>
              <a:rPr lang="en-US" dirty="0"/>
              <a:t>Insert DCC category title here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CFF8A314-B502-C345-9637-4F95290F284F}"/>
              </a:ext>
            </a:extLst>
          </p:cNvPr>
          <p:cNvSpPr txBox="1">
            <a:spLocks/>
          </p:cNvSpPr>
          <p:nvPr userDrawn="1"/>
        </p:nvSpPr>
        <p:spPr>
          <a:xfrm>
            <a:off x="9153650" y="6482648"/>
            <a:ext cx="2464229" cy="14340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i="0" dirty="0">
                <a:solidFill>
                  <a:schemeClr val="bg1"/>
                </a:solidFill>
                <a:latin typeface="Lato" panose="020F0502020204030203" pitchFamily="34" charset="77"/>
              </a:rPr>
              <a:t> </a:t>
            </a:r>
            <a:fld id="{68F1BF3E-5F0E-D24A-8AA5-A9EEC54EF19C}" type="datetime4">
              <a:rPr lang="en-GB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22 September 2020</a:t>
            </a:fld>
            <a:r>
              <a:rPr lang="en-GB" sz="900" b="1" i="0" dirty="0">
                <a:solidFill>
                  <a:schemeClr val="bg1"/>
                </a:solidFill>
                <a:latin typeface="Lato" panose="020F0502020204030203" pitchFamily="34" charset="77"/>
              </a:rPr>
              <a:t>    |    </a:t>
            </a:r>
            <a:fld id="{2B613C8D-C864-C543-AF89-04A4A766BF11}" type="slidenum">
              <a:rPr lang="en-US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‹#›</a:t>
            </a:fld>
            <a:endParaRPr lang="en-US" sz="900" b="1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863980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99EEE5E-9535-8B49-A425-83AF87AA0A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6330951"/>
            <a:ext cx="1249111" cy="396000"/>
          </a:xfrm>
          <a:prstGeom prst="rect">
            <a:avLst/>
          </a:prstGeom>
        </p:spPr>
      </p:pic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3C092D7-3C9B-1D4F-85B2-6C6ACE0B4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9" y="6482648"/>
            <a:ext cx="10897879" cy="143408"/>
          </a:xfrm>
        </p:spPr>
        <p:txBody>
          <a:bodyPr/>
          <a:lstStyle>
            <a:lvl1pPr>
              <a:defRPr>
                <a:solidFill>
                  <a:srgbClr val="F5F5F5"/>
                </a:solidFill>
              </a:defRPr>
            </a:lvl1pPr>
          </a:lstStyle>
          <a:p>
            <a:r>
              <a:rPr lang="en-US" dirty="0"/>
              <a:t>Insert DCC category title her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AFE4FA8-3512-5046-BE8B-1AE90529CAA1}"/>
              </a:ext>
            </a:extLst>
          </p:cNvPr>
          <p:cNvSpPr txBox="1">
            <a:spLocks/>
          </p:cNvSpPr>
          <p:nvPr userDrawn="1"/>
        </p:nvSpPr>
        <p:spPr>
          <a:xfrm>
            <a:off x="9153650" y="6482648"/>
            <a:ext cx="2464229" cy="14340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i="0" dirty="0">
                <a:solidFill>
                  <a:schemeClr val="bg1"/>
                </a:solidFill>
                <a:latin typeface="Lato" panose="020F0502020204030203" pitchFamily="34" charset="77"/>
              </a:rPr>
              <a:t> </a:t>
            </a:r>
            <a:fld id="{68F1BF3E-5F0E-D24A-8AA5-A9EEC54EF19C}" type="datetime4">
              <a:rPr lang="en-GB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22 September 2020</a:t>
            </a:fld>
            <a:r>
              <a:rPr lang="en-GB" sz="900" b="1" i="0" dirty="0">
                <a:solidFill>
                  <a:schemeClr val="bg1"/>
                </a:solidFill>
                <a:latin typeface="Lato" panose="020F0502020204030203" pitchFamily="34" charset="77"/>
              </a:rPr>
              <a:t>    |    </a:t>
            </a:r>
            <a:fld id="{2B613C8D-C864-C543-AF89-04A4A766BF11}" type="slidenum">
              <a:rPr lang="en-US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‹#›</a:t>
            </a:fld>
            <a:endParaRPr lang="en-US" sz="900" b="1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109558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6801" y="2520288"/>
            <a:ext cx="4979201" cy="1219522"/>
          </a:xfrm>
        </p:spPr>
        <p:txBody>
          <a:bodyPr anchor="t" anchorCtr="0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8E56FA-68CE-7E40-A091-322DAAC2D9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000" y="6330951"/>
            <a:ext cx="1249111" cy="396000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B39409A-0B05-5240-883D-9A41FC549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9" y="6482648"/>
            <a:ext cx="10897879" cy="143408"/>
          </a:xfrm>
        </p:spPr>
        <p:txBody>
          <a:bodyPr/>
          <a:lstStyle>
            <a:lvl1pPr>
              <a:defRPr>
                <a:solidFill>
                  <a:srgbClr val="F5F5F5"/>
                </a:solidFill>
              </a:defRPr>
            </a:lvl1pPr>
          </a:lstStyle>
          <a:p>
            <a:r>
              <a:rPr lang="en-US" dirty="0"/>
              <a:t>Insert DCC category title here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CA4EABB-5E32-A94F-A685-BC0029D537BC}"/>
              </a:ext>
            </a:extLst>
          </p:cNvPr>
          <p:cNvSpPr txBox="1">
            <a:spLocks/>
          </p:cNvSpPr>
          <p:nvPr userDrawn="1"/>
        </p:nvSpPr>
        <p:spPr>
          <a:xfrm>
            <a:off x="9153650" y="6482648"/>
            <a:ext cx="2464229" cy="14340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rgbClr val="1F144A"/>
                </a:solidFill>
                <a:latin typeface="Arial Rounded MT Bold" panose="020F0704030504030204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i="0" dirty="0">
                <a:solidFill>
                  <a:schemeClr val="bg1"/>
                </a:solidFill>
                <a:latin typeface="Lato" panose="020F0502020204030203" pitchFamily="34" charset="77"/>
              </a:rPr>
              <a:t> </a:t>
            </a:r>
            <a:fld id="{68F1BF3E-5F0E-D24A-8AA5-A9EEC54EF19C}" type="datetime4">
              <a:rPr lang="en-GB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22 September 2020</a:t>
            </a:fld>
            <a:r>
              <a:rPr lang="en-GB" sz="900" b="1" i="0" dirty="0">
                <a:solidFill>
                  <a:schemeClr val="bg1"/>
                </a:solidFill>
                <a:latin typeface="Lato" panose="020F0502020204030203" pitchFamily="34" charset="77"/>
              </a:rPr>
              <a:t>    |    </a:t>
            </a:r>
            <a:fld id="{2B613C8D-C864-C543-AF89-04A4A766BF11}" type="slidenum">
              <a:rPr lang="en-US" sz="900" b="1" i="0" smtClean="0">
                <a:solidFill>
                  <a:schemeClr val="bg1"/>
                </a:solidFill>
                <a:latin typeface="Lato" panose="020F0502020204030203" pitchFamily="34" charset="77"/>
              </a:rPr>
              <a:pPr algn="r"/>
              <a:t>‹#›</a:t>
            </a:fld>
            <a:endParaRPr lang="en-US" sz="900" b="1" i="0" dirty="0">
              <a:solidFill>
                <a:schemeClr val="bg1"/>
              </a:solidFill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15469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5FFE662-E56E-4D68-A8A7-C6BA71C2D1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6A8B7-9021-4A9F-BE65-E9151F5BDE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538FAF-FBAB-4717-939D-EB55333CDB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C6015F-FB25-4998-A460-1EF61B538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4602"/>
            <a:ext cx="10515600" cy="936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518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5DC033F-58DB-4F66-8FCC-CE58EDB131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F8E8F3-8170-4FFF-AE4A-75907BDDD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4602"/>
            <a:ext cx="10515600" cy="936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6A8B7-9021-4A9F-BE65-E9151F5BDE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51559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5082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17BF7F4-A474-4CD4-B453-6672AAE97E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F8E8F3-8170-4FFF-AE4A-75907BDDD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4602"/>
            <a:ext cx="10515600" cy="936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6A8B7-9021-4A9F-BE65-E9151F5BDE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51559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7943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16588F-C418-45A9-A33E-3C0D24575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664CA-45CF-4410-86AA-FCDC64B92A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E7C568-1235-477F-A661-75EBACABE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86665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16588F-C418-45A9-A33E-3C0D24575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664CA-45CF-4410-86AA-FCDC64B92A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E7C568-1235-477F-A661-75EBACABE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6864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16588F-C418-45A9-A33E-3C0D24575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664CA-45CF-4410-86AA-FCDC64B92A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E7C568-1235-477F-A661-75EBACABE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9602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122E49-31A7-4F63-B5C3-2BA914BDC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041707-758B-41B4-870C-BA338C78BB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ny questions?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089ED0-D78D-4E69-AED2-CAFA0F7E2C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 for listen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3231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F70E1-F210-4B44-BD24-95897918F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0601A70-EEDA-46CE-9366-22330AF21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8272"/>
            <a:ext cx="10515600" cy="12024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9955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63" r:id="rId4"/>
    <p:sldLayoutId id="2147483665" r:id="rId5"/>
    <p:sldLayoutId id="2147483660" r:id="rId6"/>
    <p:sldLayoutId id="2147483662" r:id="rId7"/>
    <p:sldLayoutId id="2147483661" r:id="rId8"/>
    <p:sldLayoutId id="2147483664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92D05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92D050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2D05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2D05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2D05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2D05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21" y="6372163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333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pPr defTabSz="685766" fontAlgn="base">
              <a:spcBef>
                <a:spcPct val="0"/>
              </a:spcBef>
              <a:spcAft>
                <a:spcPct val="0"/>
              </a:spcAft>
              <a:defRPr/>
            </a:pPr>
            <a:fld id="{C770596A-1B65-413B-B48A-54964BA2A2BA}" type="slidenum">
              <a:rPr lang="en-US" smtClean="0">
                <a:cs typeface="Arial" charset="0"/>
              </a:rPr>
              <a:pPr defTabSz="68576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cs typeface="Arial" charset="0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4024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</p:sldLayoutIdLst>
  <p:hf sldNum="0" hdr="0" dt="0"/>
  <p:txStyles>
    <p:titleStyle>
      <a:lvl1pPr algn="l" defTabSz="1734591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1pPr>
      <a:lvl2pPr marL="182870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2pPr>
      <a:lvl3pPr marL="365742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3pPr>
      <a:lvl4pPr marL="0" indent="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Arial Bold" charset="0"/>
          <a:ea typeface="Arial Black" charset="0"/>
          <a:cs typeface="Arial Black" charset="0"/>
        </a:defRPr>
      </a:lvl4pPr>
      <a:lvl5pPr marL="182870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lack" charset="0"/>
          <a:cs typeface="Arial Black" charset="0"/>
        </a:defRPr>
      </a:lvl5pPr>
      <a:lvl6pPr marL="365742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0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42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296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591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886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183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478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773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068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364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6" orient="horz" pos="156">
          <p15:clr>
            <a:srgbClr val="F26B43"/>
          </p15:clr>
        </p15:guide>
        <p15:guide id="7" orient="horz" pos="2868">
          <p15:clr>
            <a:srgbClr val="F26B43"/>
          </p15:clr>
        </p15:guide>
        <p15:guide id="8" orient="horz" pos="1524">
          <p15:clr>
            <a:srgbClr val="F26B43"/>
          </p15:clr>
        </p15:guide>
        <p15:guide id="9" orient="horz" pos="3084">
          <p15:clr>
            <a:srgbClr val="F26B43"/>
          </p15:clr>
        </p15:guide>
        <p15:guide id="10" orient="horz" pos="1647">
          <p15:clr>
            <a:srgbClr val="F26B43"/>
          </p15:clr>
        </p15:guide>
        <p15:guide id="11" pos="2160">
          <p15:clr>
            <a:srgbClr val="F26B43"/>
          </p15:clr>
        </p15:guide>
        <p15:guide id="12" pos="123">
          <p15:clr>
            <a:srgbClr val="F26B43"/>
          </p15:clr>
        </p15:guide>
        <p15:guide id="13" pos="4195">
          <p15:clr>
            <a:srgbClr val="F26B43"/>
          </p15:clr>
        </p15:guide>
        <p15:guide id="14" orient="horz" pos="639">
          <p15:clr>
            <a:srgbClr val="F26B43"/>
          </p15:clr>
        </p15:guide>
        <p15:guide id="15" orient="horz" pos="117">
          <p15:clr>
            <a:srgbClr val="F26B43"/>
          </p15:clr>
        </p15:guide>
        <p15:guide id="16" orient="horz" pos="2151">
          <p15:clr>
            <a:srgbClr val="F26B43"/>
          </p15:clr>
        </p15:guide>
        <p15:guide id="17" orient="horz" pos="1143">
          <p15:clr>
            <a:srgbClr val="F26B43"/>
          </p15:clr>
        </p15:guide>
        <p15:guide id="18" orient="horz" pos="23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72000" y="360000"/>
            <a:ext cx="9000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0" y="1440000"/>
            <a:ext cx="9000000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72000" y="6356350"/>
            <a:ext cx="1800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1F144A"/>
                </a:solidFill>
                <a:latin typeface="Arial Rounded MT Bold" panose="020F0704030504030204" pitchFamily="34" charset="77"/>
              </a:defRPr>
            </a:lvl1pPr>
          </a:lstStyle>
          <a:p>
            <a:fld id="{B9CCE2A8-F10C-6249-91B4-8DA08F979717}" type="datetime4">
              <a:rPr lang="en-GB" smtClean="0"/>
              <a:t>22 September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60000" y="6356350"/>
            <a:ext cx="41148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1F144A"/>
                </a:solidFill>
                <a:latin typeface="Arial Rounded MT Bold" panose="020F0704030504030204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68000" y="6369652"/>
            <a:ext cx="3600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rgbClr val="1F144A"/>
                </a:solidFill>
                <a:latin typeface="Arial Rounded MT Bold" panose="020F0704030504030204" pitchFamily="34" charset="77"/>
              </a:defRPr>
            </a:lvl1pPr>
          </a:lstStyle>
          <a:p>
            <a:fld id="{2B613C8D-C864-C543-AF89-04A4A766BF1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BD4C18-5743-4EF7-B278-F9126ACC56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65631" y="6352167"/>
            <a:ext cx="1149305" cy="364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107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8" r:id="rId3"/>
    <p:sldLayoutId id="2147483689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rgbClr val="1F144A"/>
          </a:solidFill>
          <a:latin typeface="Arial Rounded MT Bold" panose="020F0704030504030204" pitchFamily="34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600" kern="1200">
          <a:solidFill>
            <a:srgbClr val="1F144A"/>
          </a:solidFill>
          <a:latin typeface="Arial Rounded MT Bold" panose="020F0704030504030204" pitchFamily="34" charset="77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rgbClr val="1F144A"/>
          </a:solidFill>
          <a:latin typeface="Arial Rounded MT Bold" panose="020F0704030504030204" pitchFamily="34" charset="77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200" kern="1200">
          <a:solidFill>
            <a:srgbClr val="1F144A"/>
          </a:solidFill>
          <a:latin typeface="Arial Rounded MT Bold" panose="020F0704030504030204" pitchFamily="34" charset="77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100" kern="1200">
          <a:solidFill>
            <a:srgbClr val="1F144A"/>
          </a:solidFill>
          <a:latin typeface="Arial Rounded MT Bold" panose="020F0704030504030204" pitchFamily="34" charset="77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000" kern="1200">
          <a:solidFill>
            <a:srgbClr val="1F144A"/>
          </a:solidFill>
          <a:latin typeface="Arial Rounded MT Bold" panose="020F070403050403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72000" y="360000"/>
            <a:ext cx="9000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0" y="1440000"/>
            <a:ext cx="9000000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483600"/>
            <a:ext cx="108972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900">
                <a:solidFill>
                  <a:srgbClr val="1F144A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/>
              <a:t>Insert DCC category title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54800" y="6483600"/>
            <a:ext cx="246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1">
                <a:solidFill>
                  <a:srgbClr val="1F144A"/>
                </a:solidFill>
                <a:latin typeface="Lato" panose="020F0502020204030203" pitchFamily="34" charset="77"/>
              </a:defRPr>
            </a:lvl1pPr>
          </a:lstStyle>
          <a:p>
            <a:fld id="{2F08B631-9013-FF42-A20A-B42CB755ABD1}" type="datetime4">
              <a:rPr lang="en-GB" smtClean="0"/>
              <a:pPr/>
              <a:t>22 September 2020</a:t>
            </a:fld>
            <a:r>
              <a:rPr lang="en-GB"/>
              <a:t> |    </a:t>
            </a:r>
            <a:fld id="{2B613C8D-C864-C543-AF89-04A4A766BF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508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</p:sldLayoutIdLst>
  <p:hf sldNum="0"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accent1"/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Tx/>
        <a:buNone/>
        <a:defRPr sz="1600" b="1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200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100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000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72000" y="360000"/>
            <a:ext cx="9000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00" y="1440000"/>
            <a:ext cx="9000000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483600"/>
            <a:ext cx="108972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900">
                <a:solidFill>
                  <a:srgbClr val="1F144A"/>
                </a:solidFill>
                <a:latin typeface="Lato" panose="020F0502020204030203" pitchFamily="34" charset="77"/>
              </a:defRPr>
            </a:lvl1pPr>
          </a:lstStyle>
          <a:p>
            <a:r>
              <a:rPr lang="en-US" dirty="0"/>
              <a:t>Insert DCC category title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54800" y="6483600"/>
            <a:ext cx="2466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1">
                <a:solidFill>
                  <a:srgbClr val="1F144A"/>
                </a:solidFill>
                <a:latin typeface="Lato" panose="020F0502020204030203" pitchFamily="34" charset="77"/>
              </a:defRPr>
            </a:lvl1pPr>
          </a:lstStyle>
          <a:p>
            <a:fld id="{2F08B631-9013-FF42-A20A-B42CB755ABD1}" type="datetime4">
              <a:rPr lang="en-GB" smtClean="0"/>
              <a:pPr/>
              <a:t>22 September 2020</a:t>
            </a:fld>
            <a:r>
              <a:rPr lang="en-GB" dirty="0"/>
              <a:t> |    </a:t>
            </a:r>
            <a:fld id="{2B613C8D-C864-C543-AF89-04A4A766BF1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042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p:hf sldNum="0"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accent1"/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Tx/>
        <a:buNone/>
        <a:defRPr sz="1600" b="1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200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100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000" kern="1200">
          <a:solidFill>
            <a:srgbClr val="1F144A"/>
          </a:solidFill>
          <a:latin typeface="Lato" panose="020F0502020204030203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ADAE4-90BE-4FD3-8FB7-F5728B5A2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5900" y="2470638"/>
            <a:ext cx="9829800" cy="1916723"/>
          </a:xfrm>
        </p:spPr>
        <p:txBody>
          <a:bodyPr>
            <a:normAutofit/>
          </a:bodyPr>
          <a:lstStyle/>
          <a:p>
            <a:r>
              <a:rPr lang="en-GB" dirty="0"/>
              <a:t>MP082 ‘2.4Hz Channel Management’</a:t>
            </a:r>
            <a:br>
              <a:rPr lang="en-GB" dirty="0"/>
            </a:br>
            <a:r>
              <a:rPr lang="en-GB" sz="2800" dirty="0"/>
              <a:t>raised by Angel </a:t>
            </a:r>
            <a:r>
              <a:rPr lang="en-GB" sz="2800" dirty="0" err="1"/>
              <a:t>Oses</a:t>
            </a:r>
            <a:r>
              <a:rPr lang="en-GB" sz="2800" dirty="0"/>
              <a:t> de Leon of Scottish Power</a:t>
            </a:r>
          </a:p>
        </p:txBody>
      </p:sp>
    </p:spTree>
    <p:extLst>
      <p:ext uri="{BB962C8B-B14F-4D97-AF65-F5344CB8AC3E}">
        <p14:creationId xmlns:p14="http://schemas.microsoft.com/office/powerpoint/2010/main" val="3370596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10D30-56BD-43AD-B797-41B78F299C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4602"/>
            <a:ext cx="9350829" cy="936086"/>
          </a:xfrm>
        </p:spPr>
        <p:txBody>
          <a:bodyPr>
            <a:normAutofit/>
          </a:bodyPr>
          <a:lstStyle/>
          <a:p>
            <a:r>
              <a:rPr lang="en-GB" dirty="0"/>
              <a:t>Background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48ED8CC-1327-4BD2-AB0C-ECDB4762F842}"/>
              </a:ext>
            </a:extLst>
          </p:cNvPr>
          <p:cNvSpPr/>
          <p:nvPr/>
        </p:nvSpPr>
        <p:spPr>
          <a:xfrm>
            <a:off x="933775" y="1531022"/>
            <a:ext cx="9502130" cy="2143355"/>
          </a:xfrm>
          <a:prstGeom prst="roundRect">
            <a:avLst>
              <a:gd name="adj" fmla="val 8940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u="sng" dirty="0"/>
              <a:t>Iss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s the Smart Metering rollout progresses, more and more Devices will be installed and will be operating simultaneously on the same 2.4GHz Channe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evices will be co-located and competing for access for the available ZigBee radio Channe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e ZigBee 2.4GHz Channel selected at install will be set for the life of the Smart Metering System unless the system is subject to external intervention. This would be via a site visit involving a Communications Hub exchange and a subsequent re-commissioning of the HA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196A669-3C0A-4215-874B-0596BB79AC60}"/>
              </a:ext>
            </a:extLst>
          </p:cNvPr>
          <p:cNvSpPr/>
          <p:nvPr/>
        </p:nvSpPr>
        <p:spPr>
          <a:xfrm>
            <a:off x="933775" y="3856385"/>
            <a:ext cx="9502130" cy="2247013"/>
          </a:xfrm>
          <a:prstGeom prst="roundRect">
            <a:avLst/>
          </a:prstGeom>
          <a:solidFill>
            <a:srgbClr val="66CC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u="sng" dirty="0"/>
              <a:t>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ppliers have reported some performance issues noted by customers including </a:t>
            </a:r>
          </a:p>
          <a:p>
            <a:pPr marL="1200150" lvl="2" indent="-285750">
              <a:buFontTx/>
              <a:buChar char="-"/>
            </a:pPr>
            <a:r>
              <a:rPr lang="en-GB" dirty="0"/>
              <a:t>Other Device losing connectivity</a:t>
            </a:r>
          </a:p>
          <a:p>
            <a:pPr marL="1200150" lvl="2" indent="-285750">
              <a:buFontTx/>
              <a:buChar char="-"/>
            </a:pPr>
            <a:r>
              <a:rPr lang="en-GB" dirty="0"/>
              <a:t>Interference; and </a:t>
            </a:r>
          </a:p>
          <a:p>
            <a:pPr marL="1200150" lvl="2" indent="-285750">
              <a:buFontTx/>
              <a:buChar char="-"/>
            </a:pPr>
            <a:r>
              <a:rPr lang="en-GB" dirty="0"/>
              <a:t>Loss of Smart data </a:t>
            </a:r>
          </a:p>
          <a:p>
            <a:pPr marL="1200150" lvl="2" indent="-285750">
              <a:buFontTx/>
              <a:buChar char="-"/>
            </a:pPr>
            <a:r>
              <a:rPr lang="en-GB" dirty="0"/>
              <a:t>Communications Impact between Devices </a:t>
            </a:r>
          </a:p>
          <a:p>
            <a:endParaRPr lang="en-GB" dirty="0"/>
          </a:p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4344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6F225-5798-4085-9343-63CFC9801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lution Option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7D69D1B-21D3-40FA-B1B6-F24C8144300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527168120"/>
              </p:ext>
            </p:extLst>
          </p:nvPr>
        </p:nvGraphicFramePr>
        <p:xfrm>
          <a:off x="838200" y="1690688"/>
          <a:ext cx="10515600" cy="438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4450">
                  <a:extLst>
                    <a:ext uri="{9D8B030D-6E8A-4147-A177-3AD203B41FA5}">
                      <a16:colId xmlns:a16="http://schemas.microsoft.com/office/drawing/2014/main" val="1811953938"/>
                    </a:ext>
                  </a:extLst>
                </a:gridCol>
                <a:gridCol w="1513339">
                  <a:extLst>
                    <a:ext uri="{9D8B030D-6E8A-4147-A177-3AD203B41FA5}">
                      <a16:colId xmlns:a16="http://schemas.microsoft.com/office/drawing/2014/main" val="1755380024"/>
                    </a:ext>
                  </a:extLst>
                </a:gridCol>
                <a:gridCol w="1333850">
                  <a:extLst>
                    <a:ext uri="{9D8B030D-6E8A-4147-A177-3AD203B41FA5}">
                      <a16:colId xmlns:a16="http://schemas.microsoft.com/office/drawing/2014/main" val="1706749617"/>
                    </a:ext>
                  </a:extLst>
                </a:gridCol>
                <a:gridCol w="1096161">
                  <a:extLst>
                    <a:ext uri="{9D8B030D-6E8A-4147-A177-3AD203B41FA5}">
                      <a16:colId xmlns:a16="http://schemas.microsoft.com/office/drawing/2014/main" val="281030807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54069263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4061458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856363695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9544554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dirty="0"/>
                        <a:t>Ref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bility to manage 2.4GHz Chann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H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ter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IHDs/PPMIDs Imp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pecification change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Est. time to de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492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The Communications Hub (CH) performs internal assessment to select the best channel by continuously monitoring the channel.   No external triggers from Devices / DCC users / CSP is supported. 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Number of channels changes per week mandated. 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Assessment could be based on RSSI / LQI / Retry rate / Failure rate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dium 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Only initiates changes based on Radio Frequency (RFI) environment seen by CH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ow or High 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Depends on impact of updated SEP stack on Random Access Memory  (RAM) constraints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imit number of changes to conserve GSME battery.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Notification mechanism of intended channel change requested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GBCS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CHTS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SM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6 Months 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Note, longer real-life testing with meters and PPMIDs needed to determine HAN stability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5393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60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6F225-5798-4085-9343-63CFC9801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lution Option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7D69D1B-21D3-40FA-B1B6-F24C8144300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73315395"/>
              </p:ext>
            </p:extLst>
          </p:nvPr>
        </p:nvGraphicFramePr>
        <p:xfrm>
          <a:off x="838200" y="1690688"/>
          <a:ext cx="10515600" cy="365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4450">
                  <a:extLst>
                    <a:ext uri="{9D8B030D-6E8A-4147-A177-3AD203B41FA5}">
                      <a16:colId xmlns:a16="http://schemas.microsoft.com/office/drawing/2014/main" val="1811953938"/>
                    </a:ext>
                  </a:extLst>
                </a:gridCol>
                <a:gridCol w="1513339">
                  <a:extLst>
                    <a:ext uri="{9D8B030D-6E8A-4147-A177-3AD203B41FA5}">
                      <a16:colId xmlns:a16="http://schemas.microsoft.com/office/drawing/2014/main" val="1755380024"/>
                    </a:ext>
                  </a:extLst>
                </a:gridCol>
                <a:gridCol w="1333850">
                  <a:extLst>
                    <a:ext uri="{9D8B030D-6E8A-4147-A177-3AD203B41FA5}">
                      <a16:colId xmlns:a16="http://schemas.microsoft.com/office/drawing/2014/main" val="1706749617"/>
                    </a:ext>
                  </a:extLst>
                </a:gridCol>
                <a:gridCol w="1096161">
                  <a:extLst>
                    <a:ext uri="{9D8B030D-6E8A-4147-A177-3AD203B41FA5}">
                      <a16:colId xmlns:a16="http://schemas.microsoft.com/office/drawing/2014/main" val="281030807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54069263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4061458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856363695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9544554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dirty="0"/>
                        <a:t>Ref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bility to manage 2.4GHz Chann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H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ter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IHDs/PPMIDs Imp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pecification change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Est. time to de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492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 dirty="0"/>
                        <a:t>2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The Communications Hub performs channel change by external trigger that can be sent by the Communications Service Provider (CSP) to avoid DUIS changes. 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Communications Hub does not continually monitor link quality and take any actions of its own.</a:t>
                      </a:r>
                    </a:p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ow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Requires manual intervention. 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Not driven by Radio Frequency conditions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dium to High 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Additional changes to Device management platform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imit number of changes to conserve GSME battery.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Notification mechanism of intended channel change requested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GBCS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CHTS</a:t>
                      </a:r>
                    </a:p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5393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8174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6F225-5798-4085-9343-63CFC9801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lution Option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7D69D1B-21D3-40FA-B1B6-F24C8144300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245661579"/>
              </p:ext>
            </p:extLst>
          </p:nvPr>
        </p:nvGraphicFramePr>
        <p:xfrm>
          <a:off x="838200" y="1690688"/>
          <a:ext cx="10515600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4450">
                  <a:extLst>
                    <a:ext uri="{9D8B030D-6E8A-4147-A177-3AD203B41FA5}">
                      <a16:colId xmlns:a16="http://schemas.microsoft.com/office/drawing/2014/main" val="1811953938"/>
                    </a:ext>
                  </a:extLst>
                </a:gridCol>
                <a:gridCol w="1513339">
                  <a:extLst>
                    <a:ext uri="{9D8B030D-6E8A-4147-A177-3AD203B41FA5}">
                      <a16:colId xmlns:a16="http://schemas.microsoft.com/office/drawing/2014/main" val="1755380024"/>
                    </a:ext>
                  </a:extLst>
                </a:gridCol>
                <a:gridCol w="1333850">
                  <a:extLst>
                    <a:ext uri="{9D8B030D-6E8A-4147-A177-3AD203B41FA5}">
                      <a16:colId xmlns:a16="http://schemas.microsoft.com/office/drawing/2014/main" val="1706749617"/>
                    </a:ext>
                  </a:extLst>
                </a:gridCol>
                <a:gridCol w="1096161">
                  <a:extLst>
                    <a:ext uri="{9D8B030D-6E8A-4147-A177-3AD203B41FA5}">
                      <a16:colId xmlns:a16="http://schemas.microsoft.com/office/drawing/2014/main" val="281030807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54069263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4061458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856363695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9544554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dirty="0"/>
                        <a:t>Ref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bility to manage 2.4GHz Chann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H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ter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IHDs/PPMIDs Imp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pecification change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Est. time to de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492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 dirty="0"/>
                        <a:t>2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The Communications </a:t>
                      </a:r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ub performs channel change by external trigger that can be sent by DCC Users through the DUIS.</a:t>
                      </a:r>
                    </a:p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 does not continually monitor link quality and does not take any actions of its ow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ow</a:t>
                      </a:r>
                    </a:p>
                    <a:p>
                      <a:endParaRPr lang="en-GB" sz="1200" dirty="0"/>
                    </a:p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quires manual intervention. </a:t>
                      </a:r>
                    </a:p>
                    <a:p>
                      <a:pPr marL="0" algn="l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t driven by local Radio Frequency  condi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dium to High </a:t>
                      </a:r>
                    </a:p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imit number of changes to conserve GSME battery.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Notification mechanism of intended channel change requested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GBCS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CHTS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DU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6 Mon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5393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7348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6F225-5798-4085-9343-63CFC9801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lution Option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7D69D1B-21D3-40FA-B1B6-F24C8144300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737399968"/>
              </p:ext>
            </p:extLst>
          </p:nvPr>
        </p:nvGraphicFramePr>
        <p:xfrm>
          <a:off x="838200" y="1690688"/>
          <a:ext cx="1051560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4450">
                  <a:extLst>
                    <a:ext uri="{9D8B030D-6E8A-4147-A177-3AD203B41FA5}">
                      <a16:colId xmlns:a16="http://schemas.microsoft.com/office/drawing/2014/main" val="1811953938"/>
                    </a:ext>
                  </a:extLst>
                </a:gridCol>
                <a:gridCol w="1513339">
                  <a:extLst>
                    <a:ext uri="{9D8B030D-6E8A-4147-A177-3AD203B41FA5}">
                      <a16:colId xmlns:a16="http://schemas.microsoft.com/office/drawing/2014/main" val="1755380024"/>
                    </a:ext>
                  </a:extLst>
                </a:gridCol>
                <a:gridCol w="1333850">
                  <a:extLst>
                    <a:ext uri="{9D8B030D-6E8A-4147-A177-3AD203B41FA5}">
                      <a16:colId xmlns:a16="http://schemas.microsoft.com/office/drawing/2014/main" val="1706749617"/>
                    </a:ext>
                  </a:extLst>
                </a:gridCol>
                <a:gridCol w="1096161">
                  <a:extLst>
                    <a:ext uri="{9D8B030D-6E8A-4147-A177-3AD203B41FA5}">
                      <a16:colId xmlns:a16="http://schemas.microsoft.com/office/drawing/2014/main" val="281030807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54069263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4061458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856363695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9544554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dirty="0"/>
                        <a:t>Ref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bility to manage 2.4GHz Chann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H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ter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IHDs/PPMIDs Imp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pecification change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Est. time to de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492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lement 2.4GHz Frequency Agility aligned to Sub-GHz Frequency Agility Solutio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High</a:t>
                      </a:r>
                    </a:p>
                    <a:p>
                      <a:endParaRPr lang="en-GB" sz="1200" dirty="0"/>
                    </a:p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st complete solution, and mirrors sub-GHz implementatio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GBCS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CHTS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DUIS</a:t>
                      </a:r>
                    </a:p>
                    <a:p>
                      <a:endParaRPr lang="en-GB" sz="1200" dirty="0"/>
                    </a:p>
                    <a:p>
                      <a:r>
                        <a:rPr lang="en-GB" sz="1200" dirty="0"/>
                        <a:t>SMETS</a:t>
                      </a:r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5393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7011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6F225-5798-4085-9343-63CFC9801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lution Option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7D69D1B-21D3-40FA-B1B6-F24C8144300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75335514"/>
              </p:ext>
            </p:extLst>
          </p:nvPr>
        </p:nvGraphicFramePr>
        <p:xfrm>
          <a:off x="838200" y="1690688"/>
          <a:ext cx="10515600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4450">
                  <a:extLst>
                    <a:ext uri="{9D8B030D-6E8A-4147-A177-3AD203B41FA5}">
                      <a16:colId xmlns:a16="http://schemas.microsoft.com/office/drawing/2014/main" val="1811953938"/>
                    </a:ext>
                  </a:extLst>
                </a:gridCol>
                <a:gridCol w="1513339">
                  <a:extLst>
                    <a:ext uri="{9D8B030D-6E8A-4147-A177-3AD203B41FA5}">
                      <a16:colId xmlns:a16="http://schemas.microsoft.com/office/drawing/2014/main" val="1755380024"/>
                    </a:ext>
                  </a:extLst>
                </a:gridCol>
                <a:gridCol w="1333850">
                  <a:extLst>
                    <a:ext uri="{9D8B030D-6E8A-4147-A177-3AD203B41FA5}">
                      <a16:colId xmlns:a16="http://schemas.microsoft.com/office/drawing/2014/main" val="1706749617"/>
                    </a:ext>
                  </a:extLst>
                </a:gridCol>
                <a:gridCol w="1096161">
                  <a:extLst>
                    <a:ext uri="{9D8B030D-6E8A-4147-A177-3AD203B41FA5}">
                      <a16:colId xmlns:a16="http://schemas.microsoft.com/office/drawing/2014/main" val="281030807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54069263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040614581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856363695"/>
                    </a:ext>
                  </a:extLst>
                </a:gridCol>
                <a:gridCol w="1314450">
                  <a:extLst>
                    <a:ext uri="{9D8B030D-6E8A-4147-A177-3AD203B41FA5}">
                      <a16:colId xmlns:a16="http://schemas.microsoft.com/office/drawing/2014/main" val="39544554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 dirty="0"/>
                        <a:t>Ref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bility to manage 2.4GHz Chann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H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Meter Impac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IHDs/PPMIDs Imp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Specification change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Est. time to del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1492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e the Trust Centre Swap Out (TCSO) Mechanism which is a GBCS requirement to obtain a Change of Channel.</a:t>
                      </a:r>
                    </a:p>
                    <a:p>
                      <a:pPr marL="0" algn="l" defTabSz="914400" rtl="0" eaLnBrk="1" latinLnBrk="0" hangingPunct="1"/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other words, perform a Virtual TCSO.</a:t>
                      </a:r>
                    </a:p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ocess can either be triggered by the CH or via a new Service Request that can also include the new Channel Number if needed.</a:t>
                      </a:r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w</a:t>
                      </a:r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quires extra code which can be managed and mitigated through the Firmware Upgrad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No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No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No Change</a:t>
                      </a:r>
                    </a:p>
                    <a:p>
                      <a:endParaRPr lang="en-GB" sz="1200" dirty="0"/>
                    </a:p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ould not be long as the CH has already implemented the TCSO as part of the GBCS requirement.</a:t>
                      </a:r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wever, it will need to implement a mechanism to trigger the process and to act on the new Service Request if materialised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5393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55023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D2EC7-6B41-4640-BBE0-8BB050145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AAF2DA3-59C0-40DE-8880-1C7D1C21CE0A}"/>
              </a:ext>
            </a:extLst>
          </p:cNvPr>
          <p:cNvSpPr/>
          <p:nvPr/>
        </p:nvSpPr>
        <p:spPr>
          <a:xfrm>
            <a:off x="425042" y="1983538"/>
            <a:ext cx="5934075" cy="1372058"/>
          </a:xfrm>
          <a:prstGeom prst="roundRect">
            <a:avLst/>
          </a:prstGeom>
          <a:solidFill>
            <a:srgbClr val="66CC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Discuss and select Solution Options 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11354CD-7F00-419E-8438-378BA4849A40}"/>
              </a:ext>
            </a:extLst>
          </p:cNvPr>
          <p:cNvSpPr/>
          <p:nvPr/>
        </p:nvSpPr>
        <p:spPr>
          <a:xfrm>
            <a:off x="5151278" y="3767604"/>
            <a:ext cx="5934075" cy="1450347"/>
          </a:xfrm>
          <a:prstGeom prst="roundRect">
            <a:avLst/>
          </a:prstGeom>
          <a:solidFill>
            <a:srgbClr val="66CC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Business Requirements</a:t>
            </a:r>
          </a:p>
        </p:txBody>
      </p:sp>
    </p:spTree>
    <p:extLst>
      <p:ext uri="{BB962C8B-B14F-4D97-AF65-F5344CB8AC3E}">
        <p14:creationId xmlns:p14="http://schemas.microsoft.com/office/powerpoint/2010/main" val="1379963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CAS Powerpoint Template (005)  -  Read-Only" id="{85484595-E560-484D-8DB5-B5B948A283F1}" vid="{406A5B05-B60B-4D20-821B-333626B96A00}"/>
    </a:ext>
  </a:extLst>
</a:theme>
</file>

<file path=ppt/theme/theme2.xml><?xml version="1.0" encoding="utf-8"?>
<a:theme xmlns:a="http://schemas.openxmlformats.org/drawingml/2006/main" name="Smart DCC 2019">
  <a:themeElements>
    <a:clrScheme name="Custom 66">
      <a:dk1>
        <a:srgbClr val="000000"/>
      </a:dk1>
      <a:lt1>
        <a:srgbClr val="FFFFFF"/>
      </a:lt1>
      <a:dk2>
        <a:srgbClr val="919191"/>
      </a:dk2>
      <a:lt2>
        <a:srgbClr val="008899"/>
      </a:lt2>
      <a:accent1>
        <a:srgbClr val="008899"/>
      </a:accent1>
      <a:accent2>
        <a:srgbClr val="77AA99"/>
      </a:accent2>
      <a:accent3>
        <a:srgbClr val="002266"/>
      </a:accent3>
      <a:accent4>
        <a:srgbClr val="00AA99"/>
      </a:accent4>
      <a:accent5>
        <a:srgbClr val="FF901F"/>
      </a:accent5>
      <a:accent6>
        <a:srgbClr val="993399"/>
      </a:accent6>
      <a:hlink>
        <a:srgbClr val="337722"/>
      </a:hlink>
      <a:folHlink>
        <a:srgbClr val="2F539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3.xml><?xml version="1.0" encoding="utf-8"?>
<a:theme xmlns:a="http://schemas.openxmlformats.org/drawingml/2006/main" name="Smart DCC">
  <a:themeElements>
    <a:clrScheme name="SmartDCC 2019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1F1449"/>
      </a:accent1>
      <a:accent2>
        <a:srgbClr val="5C2071"/>
      </a:accent2>
      <a:accent3>
        <a:srgbClr val="861871"/>
      </a:accent3>
      <a:accent4>
        <a:srgbClr val="505153"/>
      </a:accent4>
      <a:accent5>
        <a:srgbClr val="BF1B58"/>
      </a:accent5>
      <a:accent6>
        <a:srgbClr val="9CA299"/>
      </a:accent6>
      <a:hlink>
        <a:srgbClr val="000000"/>
      </a:hlink>
      <a:folHlink>
        <a:srgbClr val="861871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mart DCC Widescreen PowerPoint template 2019.pptx" id="{7C12F7EC-BA16-4BC8-A3E2-087207470605}" vid="{6829F227-3463-47B4-B180-874E61D0B6D5}"/>
    </a:ext>
  </a:extLst>
</a:theme>
</file>

<file path=ppt/theme/theme4.xml><?xml version="1.0" encoding="utf-8"?>
<a:theme xmlns:a="http://schemas.openxmlformats.org/drawingml/2006/main" name="1_Smart DCC">
  <a:themeElements>
    <a:clrScheme name="DCC 2020">
      <a:dk1>
        <a:srgbClr val="000000"/>
      </a:dk1>
      <a:lt1>
        <a:srgbClr val="FFFFFF"/>
      </a:lt1>
      <a:dk2>
        <a:srgbClr val="5C2071"/>
      </a:dk2>
      <a:lt2>
        <a:srgbClr val="FFFFFF"/>
      </a:lt2>
      <a:accent1>
        <a:srgbClr val="1F1449"/>
      </a:accent1>
      <a:accent2>
        <a:srgbClr val="5C2071"/>
      </a:accent2>
      <a:accent3>
        <a:srgbClr val="861889"/>
      </a:accent3>
      <a:accent4>
        <a:srgbClr val="CA005D"/>
      </a:accent4>
      <a:accent5>
        <a:srgbClr val="505153"/>
      </a:accent5>
      <a:accent6>
        <a:srgbClr val="9CA299"/>
      </a:accent6>
      <a:hlink>
        <a:srgbClr val="861889"/>
      </a:hlink>
      <a:folHlink>
        <a:srgbClr val="C9005D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BF1B58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Smart DCC">
  <a:themeElements>
    <a:clrScheme name="DCC 2020">
      <a:dk1>
        <a:srgbClr val="000000"/>
      </a:dk1>
      <a:lt1>
        <a:srgbClr val="FFFFFF"/>
      </a:lt1>
      <a:dk2>
        <a:srgbClr val="5C2071"/>
      </a:dk2>
      <a:lt2>
        <a:srgbClr val="FFFFFF"/>
      </a:lt2>
      <a:accent1>
        <a:srgbClr val="1F1449"/>
      </a:accent1>
      <a:accent2>
        <a:srgbClr val="5C2071"/>
      </a:accent2>
      <a:accent3>
        <a:srgbClr val="861889"/>
      </a:accent3>
      <a:accent4>
        <a:srgbClr val="CA005D"/>
      </a:accent4>
      <a:accent5>
        <a:srgbClr val="505153"/>
      </a:accent5>
      <a:accent6>
        <a:srgbClr val="9CA299"/>
      </a:accent6>
      <a:hlink>
        <a:srgbClr val="861889"/>
      </a:hlink>
      <a:folHlink>
        <a:srgbClr val="C9005D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BF1B58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mart DCC Widescreen - Corporate MASTER (1).pptx  -  Read-Only" id="{6725F436-E364-4813-AB82-C3E1879AAFC3}" vid="{313A7315-0610-48DC-919E-6CB1A15D503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28681E20809840B04FB80E71B67801" ma:contentTypeVersion="8" ma:contentTypeDescription="Create a new document." ma:contentTypeScope="" ma:versionID="f4b27a4b3b3070d548076035d0523d94">
  <xsd:schema xmlns:xsd="http://www.w3.org/2001/XMLSchema" xmlns:xs="http://www.w3.org/2001/XMLSchema" xmlns:p="http://schemas.microsoft.com/office/2006/metadata/properties" xmlns:ns3="767ebdd0-b08f-4bda-99f2-055395600d78" targetNamespace="http://schemas.microsoft.com/office/2006/metadata/properties" ma:root="true" ma:fieldsID="1724e8ea4b05e64f4d3982f729154b57" ns3:_="">
    <xsd:import namespace="767ebdd0-b08f-4bda-99f2-055395600d7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7ebdd0-b08f-4bda-99f2-055395600d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E7FED44-432F-4E04-9D5D-45B48F7A0D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7ebdd0-b08f-4bda-99f2-055395600d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47BBE73-2740-43FF-BFE7-F069841929F1}">
  <ds:schemaRefs>
    <ds:schemaRef ds:uri="http://schemas.microsoft.com/office/2006/metadata/properties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767ebdd0-b08f-4bda-99f2-055395600d78"/>
    <ds:schemaRef ds:uri="http://www.w3.org/XML/1998/namespace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4FF515C-9DBF-4D1B-8388-EE2D4237C7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01</TotalTime>
  <Words>711</Words>
  <Application>Microsoft Office PowerPoint</Application>
  <PresentationFormat>Widescreen</PresentationFormat>
  <Paragraphs>152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Arial</vt:lpstr>
      <vt:lpstr>Arial Black</vt:lpstr>
      <vt:lpstr>Arial Bold</vt:lpstr>
      <vt:lpstr>Arial Rounded MT Bold</vt:lpstr>
      <vt:lpstr>Calibri</vt:lpstr>
      <vt:lpstr>Calibri Light</vt:lpstr>
      <vt:lpstr>Lato</vt:lpstr>
      <vt:lpstr>Office Theme</vt:lpstr>
      <vt:lpstr>Smart DCC 2019</vt:lpstr>
      <vt:lpstr>Smart DCC</vt:lpstr>
      <vt:lpstr>1_Smart DCC</vt:lpstr>
      <vt:lpstr>2_Smart DCC</vt:lpstr>
      <vt:lpstr>think-cell Slide</vt:lpstr>
      <vt:lpstr>MP082 ‘2.4Hz Channel Management’ raised by Angel Oses de Leon of Scottish Power</vt:lpstr>
      <vt:lpstr>Background</vt:lpstr>
      <vt:lpstr>Solution Options</vt:lpstr>
      <vt:lpstr>Solution Options</vt:lpstr>
      <vt:lpstr>Solution Options</vt:lpstr>
      <vt:lpstr>Solution Options</vt:lpstr>
      <vt:lpstr>Solution Options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llie McGovern</dc:creator>
  <cp:lastModifiedBy>Khaleda Hussain</cp:lastModifiedBy>
  <cp:revision>167</cp:revision>
  <dcterms:created xsi:type="dcterms:W3CDTF">2019-06-26T07:44:35Z</dcterms:created>
  <dcterms:modified xsi:type="dcterms:W3CDTF">2020-09-22T11:1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28681E20809840B04FB80E71B67801</vt:lpwstr>
  </property>
</Properties>
</file>